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7.xml" ContentType="application/vnd.openxmlformats-officedocument.theme+xml"/>
  <Override PartName="/ppt/tags/tag13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8.xml" ContentType="application/vnd.openxmlformats-officedocument.theme+xml"/>
  <Override PartName="/ppt/tags/tag14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9.xml" ContentType="application/vnd.openxmlformats-officedocument.theme+xml"/>
  <Override PartName="/ppt/tags/tag15.xml" ContentType="application/vnd.openxmlformats-officedocument.presentationml.tags+xml"/>
  <Override PartName="/ppt/theme/theme10.xml" ContentType="application/vnd.openxmlformats-officedocument.theme+xml"/>
  <Override PartName="/ppt/tags/tag16.xml" ContentType="application/vnd.openxmlformats-officedocument.presentationml.tags+xml"/>
  <Override PartName="/ppt/theme/theme11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5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6.xml" ContentType="application/vnd.openxmlformats-officedocument.presentationml.notesSlide+xml"/>
  <Override PartName="/ppt/tags/tag28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9.xml" ContentType="application/vnd.openxmlformats-officedocument.presentationml.tags+xml"/>
  <Override PartName="/ppt/notesSlides/notesSlide9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0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1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2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3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4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5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6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7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8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9.xml" ContentType="application/vnd.openxmlformats-officedocument.presentationml.notesSlide+xml"/>
  <Override PartName="/ppt/tags/tag50.xml" ContentType="application/vnd.openxmlformats-officedocument.presentationml.tags+xml"/>
  <Override PartName="/ppt/notesSlides/notesSlide20.xml" ContentType="application/vnd.openxmlformats-officedocument.presentationml.notesSlide+xml"/>
  <Override PartName="/ppt/tags/tag51.xml" ContentType="application/vnd.openxmlformats-officedocument.presentationml.tags+xml"/>
  <Override PartName="/ppt/notesSlides/notesSlide21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22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23.xml" ContentType="application/vnd.openxmlformats-officedocument.presentationml.notesSlide+xml"/>
  <Override PartName="/ppt/tags/tag56.xml" ContentType="application/vnd.openxmlformats-officedocument.presentationml.tags+xml"/>
  <Override PartName="/ppt/notesSlides/notesSlide24.xml" ContentType="application/vnd.openxmlformats-officedocument.presentationml.notesSlide+xml"/>
  <Override PartName="/ppt/tags/tag57.xml" ContentType="application/vnd.openxmlformats-officedocument.presentationml.tags+xml"/>
  <Override PartName="/ppt/notesSlides/notesSlide25.xml" ContentType="application/vnd.openxmlformats-officedocument.presentationml.notesSlide+xml"/>
  <Override PartName="/ppt/tags/tag58.xml" ContentType="application/vnd.openxmlformats-officedocument.presentationml.tags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tags/tag59.xml" ContentType="application/vnd.openxmlformats-officedocument.presentationml.tags+xml"/>
  <Override PartName="/ppt/notesSlides/notesSlide29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30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31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32.xml" ContentType="application/vnd.openxmlformats-officedocument.presentationml.notesSlide+xml"/>
  <Override PartName="/ppt/tags/tag66.xml" ContentType="application/vnd.openxmlformats-officedocument.presentationml.tags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tags/tag67.xml" ContentType="application/vnd.openxmlformats-officedocument.presentationml.tags+xml"/>
  <Override PartName="/ppt/notesSlides/notesSlide35.xml" ContentType="application/vnd.openxmlformats-officedocument.presentationml.notesSlide+xml"/>
  <Override PartName="/ppt/tags/tag68.xml" ContentType="application/vnd.openxmlformats-officedocument.presentationml.tags+xml"/>
  <Override PartName="/ppt/notesSlides/notesSlide36.xml" ContentType="application/vnd.openxmlformats-officedocument.presentationml.notesSlide+xml"/>
  <Override PartName="/ppt/tags/tag69.xml" ContentType="application/vnd.openxmlformats-officedocument.presentationml.tags+xml"/>
  <Override PartName="/ppt/notesSlides/notesSlide3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>
  <p:sldMasterIdLst>
    <p:sldMasterId id="2147483865" r:id="rId6"/>
    <p:sldMasterId id="2147483873" r:id="rId7"/>
    <p:sldMasterId id="2147484007" r:id="rId8"/>
    <p:sldMasterId id="2147483879" r:id="rId9"/>
    <p:sldMasterId id="2147484017" r:id="rId10"/>
    <p:sldMasterId id="2147483891" r:id="rId11"/>
    <p:sldMasterId id="2147483908" r:id="rId12"/>
    <p:sldMasterId id="2147484031" r:id="rId13"/>
    <p:sldMasterId id="2147484046" r:id="rId14"/>
  </p:sldMasterIdLst>
  <p:notesMasterIdLst>
    <p:notesMasterId r:id="rId53"/>
  </p:notesMasterIdLst>
  <p:handoutMasterIdLst>
    <p:handoutMasterId r:id="rId54"/>
  </p:handoutMasterIdLst>
  <p:sldIdLst>
    <p:sldId id="5257" r:id="rId15"/>
    <p:sldId id="2147482299" r:id="rId16"/>
    <p:sldId id="5255" r:id="rId17"/>
    <p:sldId id="2147482305" r:id="rId18"/>
    <p:sldId id="5276" r:id="rId19"/>
    <p:sldId id="5262" r:id="rId20"/>
    <p:sldId id="2147482283" r:id="rId21"/>
    <p:sldId id="2147482286" r:id="rId22"/>
    <p:sldId id="5264" r:id="rId23"/>
    <p:sldId id="5269" r:id="rId24"/>
    <p:sldId id="5270" r:id="rId25"/>
    <p:sldId id="5268" r:id="rId26"/>
    <p:sldId id="5279" r:id="rId27"/>
    <p:sldId id="5267" r:id="rId28"/>
    <p:sldId id="5271" r:id="rId29"/>
    <p:sldId id="5273" r:id="rId30"/>
    <p:sldId id="5278" r:id="rId31"/>
    <p:sldId id="5274" r:id="rId32"/>
    <p:sldId id="5260" r:id="rId33"/>
    <p:sldId id="2147482288" r:id="rId34"/>
    <p:sldId id="5280" r:id="rId35"/>
    <p:sldId id="5284" r:id="rId36"/>
    <p:sldId id="5251" r:id="rId37"/>
    <p:sldId id="2147482289" r:id="rId38"/>
    <p:sldId id="5281" r:id="rId39"/>
    <p:sldId id="2147482294" r:id="rId40"/>
    <p:sldId id="2147482296" r:id="rId41"/>
    <p:sldId id="2147482297" r:id="rId42"/>
    <p:sldId id="5252" r:id="rId43"/>
    <p:sldId id="5258" r:id="rId44"/>
    <p:sldId id="5245" r:id="rId45"/>
    <p:sldId id="5282" r:id="rId46"/>
    <p:sldId id="2147482300" r:id="rId47"/>
    <p:sldId id="2147482301" r:id="rId48"/>
    <p:sldId id="5283" r:id="rId49"/>
    <p:sldId id="2147482282" r:id="rId50"/>
    <p:sldId id="5167" r:id="rId51"/>
    <p:sldId id="2147482303" r:id="rId52"/>
  </p:sldIdLst>
  <p:sldSz cx="9144000" cy="5143500" type="screen16x9"/>
  <p:notesSz cx="20104100" cy="11309350"/>
  <p:custDataLst>
    <p:tags r:id="rId55"/>
  </p:custDataLst>
  <p:kinsoku lang="ja-JP" invalStChars="、。，．・：；？！゛゜ヽヾゝゞ々’”）〕］｝〉》」』】°‰′″℃￠％!%),.:;?]}｡｣､･ﾞﾟ" invalEndChars="‘“（〔［｛〈《「『【￥＄$([\{｢￡"/>
  <p:defaultTextStyle>
    <a:defPPr>
      <a:defRPr lang="en-AE"/>
    </a:defPPr>
    <a:lvl1pPr marL="0" algn="r" defTabSz="415869" rtl="1" eaLnBrk="1" latinLnBrk="0" hangingPunct="1">
      <a:defRPr sz="819" kern="1200">
        <a:solidFill>
          <a:schemeClr val="tx1"/>
        </a:solidFill>
        <a:latin typeface="+mn-lt"/>
        <a:ea typeface="+mn-ea"/>
        <a:cs typeface="+mn-cs"/>
      </a:defRPr>
    </a:lvl1pPr>
    <a:lvl2pPr marL="207935" algn="r" defTabSz="415869" rtl="1" eaLnBrk="1" latinLnBrk="0" hangingPunct="1">
      <a:defRPr sz="819" kern="1200">
        <a:solidFill>
          <a:schemeClr val="tx1"/>
        </a:solidFill>
        <a:latin typeface="+mn-lt"/>
        <a:ea typeface="+mn-ea"/>
        <a:cs typeface="+mn-cs"/>
      </a:defRPr>
    </a:lvl2pPr>
    <a:lvl3pPr marL="415869" algn="r" defTabSz="415869" rtl="1" eaLnBrk="1" latinLnBrk="0" hangingPunct="1">
      <a:defRPr sz="819" kern="1200">
        <a:solidFill>
          <a:schemeClr val="tx1"/>
        </a:solidFill>
        <a:latin typeface="+mn-lt"/>
        <a:ea typeface="+mn-ea"/>
        <a:cs typeface="+mn-cs"/>
      </a:defRPr>
    </a:lvl3pPr>
    <a:lvl4pPr marL="623804" algn="r" defTabSz="415869" rtl="1" eaLnBrk="1" latinLnBrk="0" hangingPunct="1">
      <a:defRPr sz="819" kern="1200">
        <a:solidFill>
          <a:schemeClr val="tx1"/>
        </a:solidFill>
        <a:latin typeface="+mn-lt"/>
        <a:ea typeface="+mn-ea"/>
        <a:cs typeface="+mn-cs"/>
      </a:defRPr>
    </a:lvl4pPr>
    <a:lvl5pPr marL="831738" algn="r" defTabSz="415869" rtl="1" eaLnBrk="1" latinLnBrk="0" hangingPunct="1">
      <a:defRPr sz="819" kern="1200">
        <a:solidFill>
          <a:schemeClr val="tx1"/>
        </a:solidFill>
        <a:latin typeface="+mn-lt"/>
        <a:ea typeface="+mn-ea"/>
        <a:cs typeface="+mn-cs"/>
      </a:defRPr>
    </a:lvl5pPr>
    <a:lvl6pPr marL="1039673" algn="r" defTabSz="415869" rtl="1" eaLnBrk="1" latinLnBrk="0" hangingPunct="1">
      <a:defRPr sz="819" kern="1200">
        <a:solidFill>
          <a:schemeClr val="tx1"/>
        </a:solidFill>
        <a:latin typeface="+mn-lt"/>
        <a:ea typeface="+mn-ea"/>
        <a:cs typeface="+mn-cs"/>
      </a:defRPr>
    </a:lvl6pPr>
    <a:lvl7pPr marL="1247607" algn="r" defTabSz="415869" rtl="1" eaLnBrk="1" latinLnBrk="0" hangingPunct="1">
      <a:defRPr sz="819" kern="1200">
        <a:solidFill>
          <a:schemeClr val="tx1"/>
        </a:solidFill>
        <a:latin typeface="+mn-lt"/>
        <a:ea typeface="+mn-ea"/>
        <a:cs typeface="+mn-cs"/>
      </a:defRPr>
    </a:lvl7pPr>
    <a:lvl8pPr marL="1455542" algn="r" defTabSz="415869" rtl="1" eaLnBrk="1" latinLnBrk="0" hangingPunct="1">
      <a:defRPr sz="819" kern="1200">
        <a:solidFill>
          <a:schemeClr val="tx1"/>
        </a:solidFill>
        <a:latin typeface="+mn-lt"/>
        <a:ea typeface="+mn-ea"/>
        <a:cs typeface="+mn-cs"/>
      </a:defRPr>
    </a:lvl8pPr>
    <a:lvl9pPr marL="1663476" algn="r" defTabSz="415869" rtl="1" eaLnBrk="1" latinLnBrk="0" hangingPunct="1">
      <a:defRPr sz="81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5" userDrawn="1">
          <p15:clr>
            <a:srgbClr val="A4A3A4"/>
          </p15:clr>
        </p15:guide>
        <p15:guide id="4" pos="2880" userDrawn="1">
          <p15:clr>
            <a:srgbClr val="A4A3A4"/>
          </p15:clr>
        </p15:guide>
        <p15:guide id="5" pos="4241" userDrawn="1">
          <p15:clr>
            <a:srgbClr val="A4A3A4"/>
          </p15:clr>
        </p15:guide>
        <p15:guide id="6" pos="151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2A4A"/>
    <a:srgbClr val="616161"/>
    <a:srgbClr val="6500FF"/>
    <a:srgbClr val="243646"/>
    <a:srgbClr val="2FB986"/>
    <a:srgbClr val="E0E8E9"/>
    <a:srgbClr val="D9D9D9"/>
    <a:srgbClr val="85D0CC"/>
    <a:srgbClr val="77797C"/>
    <a:srgbClr val="486B8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DB50EA8-DAED-4ACC-A2BC-449BFE6D045C}" v="2" dt="2025-10-22T12:34:19.092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7" autoAdjust="0"/>
    <p:restoredTop sz="79097" autoAdjust="0"/>
  </p:normalViewPr>
  <p:slideViewPr>
    <p:cSldViewPr snapToGrid="0">
      <p:cViewPr varScale="1">
        <p:scale>
          <a:sx n="116" d="100"/>
          <a:sy n="116" d="100"/>
        </p:scale>
        <p:origin x="3619" y="307"/>
      </p:cViewPr>
      <p:guideLst>
        <p:guide orient="horz" pos="735"/>
        <p:guide pos="2880"/>
        <p:guide pos="4241"/>
        <p:guide pos="151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8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slide" Target="slides/slide25.xml"/><Relationship Id="rId21" Type="http://schemas.openxmlformats.org/officeDocument/2006/relationships/slide" Target="slides/slide7.xml"/><Relationship Id="rId34" Type="http://schemas.openxmlformats.org/officeDocument/2006/relationships/slide" Target="slides/slide20.xml"/><Relationship Id="rId42" Type="http://schemas.openxmlformats.org/officeDocument/2006/relationships/slide" Target="slides/slide28.xml"/><Relationship Id="rId47" Type="http://schemas.openxmlformats.org/officeDocument/2006/relationships/slide" Target="slides/slide33.xml"/><Relationship Id="rId50" Type="http://schemas.openxmlformats.org/officeDocument/2006/relationships/slide" Target="slides/slide36.xml"/><Relationship Id="rId55" Type="http://schemas.openxmlformats.org/officeDocument/2006/relationships/tags" Target="tags/tag1.xml"/><Relationship Id="rId7" Type="http://schemas.openxmlformats.org/officeDocument/2006/relationships/slideMaster" Target="slideMasters/slideMaster2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9" Type="http://schemas.openxmlformats.org/officeDocument/2006/relationships/slide" Target="slides/slide15.xml"/><Relationship Id="rId11" Type="http://schemas.openxmlformats.org/officeDocument/2006/relationships/slideMaster" Target="slideMasters/slideMaster6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slide" Target="slides/slide23.xml"/><Relationship Id="rId40" Type="http://schemas.openxmlformats.org/officeDocument/2006/relationships/slide" Target="slides/slide26.xml"/><Relationship Id="rId45" Type="http://schemas.openxmlformats.org/officeDocument/2006/relationships/slide" Target="slides/slide31.xml"/><Relationship Id="rId53" Type="http://schemas.openxmlformats.org/officeDocument/2006/relationships/notesMaster" Target="notesMasters/notesMaster1.xml"/><Relationship Id="rId58" Type="http://schemas.openxmlformats.org/officeDocument/2006/relationships/theme" Target="theme/theme1.xml"/><Relationship Id="rId5" Type="http://schemas.openxmlformats.org/officeDocument/2006/relationships/customXml" Target="../customXml/item5.xml"/><Relationship Id="rId61" Type="http://schemas.microsoft.com/office/2015/10/relationships/revisionInfo" Target="revisionInfo.xml"/><Relationship Id="rId19" Type="http://schemas.openxmlformats.org/officeDocument/2006/relationships/slide" Target="slides/slide5.xml"/><Relationship Id="rId14" Type="http://schemas.openxmlformats.org/officeDocument/2006/relationships/slideMaster" Target="slideMasters/slideMaster9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43" Type="http://schemas.openxmlformats.org/officeDocument/2006/relationships/slide" Target="slides/slide29.xml"/><Relationship Id="rId48" Type="http://schemas.openxmlformats.org/officeDocument/2006/relationships/slide" Target="slides/slide34.xml"/><Relationship Id="rId56" Type="http://schemas.openxmlformats.org/officeDocument/2006/relationships/presProps" Target="presProps.xml"/><Relationship Id="rId8" Type="http://schemas.openxmlformats.org/officeDocument/2006/relationships/slideMaster" Target="slideMasters/slideMaster3.xml"/><Relationship Id="rId51" Type="http://schemas.openxmlformats.org/officeDocument/2006/relationships/slide" Target="slides/slide37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7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slide" Target="slides/slide24.xml"/><Relationship Id="rId46" Type="http://schemas.openxmlformats.org/officeDocument/2006/relationships/slide" Target="slides/slide32.xml"/><Relationship Id="rId59" Type="http://schemas.openxmlformats.org/officeDocument/2006/relationships/tableStyles" Target="tableStyles.xml"/><Relationship Id="rId20" Type="http://schemas.openxmlformats.org/officeDocument/2006/relationships/slide" Target="slides/slide6.xml"/><Relationship Id="rId41" Type="http://schemas.openxmlformats.org/officeDocument/2006/relationships/slide" Target="slides/slide27.xml"/><Relationship Id="rId54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slide" Target="slides/slide22.xml"/><Relationship Id="rId49" Type="http://schemas.openxmlformats.org/officeDocument/2006/relationships/slide" Target="slides/slide35.xml"/><Relationship Id="rId57" Type="http://schemas.openxmlformats.org/officeDocument/2006/relationships/viewProps" Target="viewProps.xml"/><Relationship Id="rId10" Type="http://schemas.openxmlformats.org/officeDocument/2006/relationships/slideMaster" Target="slideMasters/slideMaster5.xml"/><Relationship Id="rId31" Type="http://schemas.openxmlformats.org/officeDocument/2006/relationships/slide" Target="slides/slide17.xml"/><Relationship Id="rId44" Type="http://schemas.openxmlformats.org/officeDocument/2006/relationships/slide" Target="slides/slide30.xml"/><Relationship Id="rId52" Type="http://schemas.openxmlformats.org/officeDocument/2006/relationships/slide" Target="slides/slide38.xml"/><Relationship Id="rId60" Type="http://schemas.microsoft.com/office/2016/11/relationships/changesInfo" Target="changesInfos/changesInfo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vgenia Deusheva" userId="14f857e0-cbc6-426e-ba6d-661394219a0b" providerId="ADAL" clId="{6C7090B1-613B-4262-9A35-3A858E71F0D0}"/>
    <pc:docChg chg="mod delSld modSld sldOrd modMainMaster modNotesMaster modHandout">
      <pc:chgData name="Evgenia Deusheva" userId="14f857e0-cbc6-426e-ba6d-661394219a0b" providerId="ADAL" clId="{6C7090B1-613B-4262-9A35-3A858E71F0D0}" dt="2025-10-22T12:34:19.091" v="14"/>
      <pc:docMkLst>
        <pc:docMk/>
      </pc:docMkLst>
      <pc:sldChg chg="ord">
        <pc:chgData name="Evgenia Deusheva" userId="14f857e0-cbc6-426e-ba6d-661394219a0b" providerId="ADAL" clId="{6C7090B1-613B-4262-9A35-3A858E71F0D0}" dt="2025-10-22T12:09:13.514" v="1"/>
        <pc:sldMkLst>
          <pc:docMk/>
          <pc:sldMk cId="4143937710" sldId="5167"/>
        </pc:sldMkLst>
      </pc:sldChg>
      <pc:sldChg chg="modSp modNotes">
        <pc:chgData name="Evgenia Deusheva" userId="14f857e0-cbc6-426e-ba6d-661394219a0b" providerId="ADAL" clId="{6C7090B1-613B-4262-9A35-3A858E71F0D0}" dt="2025-10-22T12:34:19.091" v="14"/>
        <pc:sldMkLst>
          <pc:docMk/>
          <pc:sldMk cId="3201906639" sldId="5245"/>
        </pc:sldMkLst>
        <pc:spChg chg="mod">
          <ac:chgData name="Evgenia Deusheva" userId="14f857e0-cbc6-426e-ba6d-661394219a0b" providerId="ADAL" clId="{6C7090B1-613B-4262-9A35-3A858E71F0D0}" dt="2025-10-22T12:34:19.091" v="14"/>
          <ac:spMkLst>
            <pc:docMk/>
            <pc:sldMk cId="3201906639" sldId="5245"/>
            <ac:spMk id="6" creationId="{6BC6A817-CD18-470A-B368-65C51FC694E1}"/>
          </ac:spMkLst>
        </pc:spChg>
      </pc:sldChg>
      <pc:sldChg chg="modSp modNotes">
        <pc:chgData name="Evgenia Deusheva" userId="14f857e0-cbc6-426e-ba6d-661394219a0b" providerId="ADAL" clId="{6C7090B1-613B-4262-9A35-3A858E71F0D0}" dt="2025-10-22T12:34:19.091" v="14"/>
        <pc:sldMkLst>
          <pc:docMk/>
          <pc:sldMk cId="51916969" sldId="5251"/>
        </pc:sldMkLst>
        <pc:spChg chg="mod">
          <ac:chgData name="Evgenia Deusheva" userId="14f857e0-cbc6-426e-ba6d-661394219a0b" providerId="ADAL" clId="{6C7090B1-613B-4262-9A35-3A858E71F0D0}" dt="2025-10-22T12:34:19.091" v="14"/>
          <ac:spMkLst>
            <pc:docMk/>
            <pc:sldMk cId="51916969" sldId="5251"/>
            <ac:spMk id="5" creationId="{5C45BA9B-ACB9-42EB-823A-1701F075C870}"/>
          </ac:spMkLst>
        </pc:spChg>
      </pc:sldChg>
      <pc:sldChg chg="modSp modNotes">
        <pc:chgData name="Evgenia Deusheva" userId="14f857e0-cbc6-426e-ba6d-661394219a0b" providerId="ADAL" clId="{6C7090B1-613B-4262-9A35-3A858E71F0D0}" dt="2025-10-22T12:34:19.091" v="14"/>
        <pc:sldMkLst>
          <pc:docMk/>
          <pc:sldMk cId="1270952272" sldId="5252"/>
        </pc:sldMkLst>
        <pc:spChg chg="mod">
          <ac:chgData name="Evgenia Deusheva" userId="14f857e0-cbc6-426e-ba6d-661394219a0b" providerId="ADAL" clId="{6C7090B1-613B-4262-9A35-3A858E71F0D0}" dt="2025-10-22T12:34:19.091" v="14"/>
          <ac:spMkLst>
            <pc:docMk/>
            <pc:sldMk cId="1270952272" sldId="5252"/>
            <ac:spMk id="17" creationId="{673FDC72-0BF9-43C9-8B92-3622C3C9D567}"/>
          </ac:spMkLst>
        </pc:spChg>
      </pc:sldChg>
      <pc:sldChg chg="modSp modNotes">
        <pc:chgData name="Evgenia Deusheva" userId="14f857e0-cbc6-426e-ba6d-661394219a0b" providerId="ADAL" clId="{6C7090B1-613B-4262-9A35-3A858E71F0D0}" dt="2025-10-22T12:34:19.091" v="14"/>
        <pc:sldMkLst>
          <pc:docMk/>
          <pc:sldMk cId="2425843517" sldId="5255"/>
        </pc:sldMkLst>
        <pc:spChg chg="mod">
          <ac:chgData name="Evgenia Deusheva" userId="14f857e0-cbc6-426e-ba6d-661394219a0b" providerId="ADAL" clId="{6C7090B1-613B-4262-9A35-3A858E71F0D0}" dt="2025-10-22T12:34:19.091" v="14"/>
          <ac:spMkLst>
            <pc:docMk/>
            <pc:sldMk cId="2425843517" sldId="5255"/>
            <ac:spMk id="5" creationId="{A71C76B2-A05C-4027-A12C-005A654AE7E3}"/>
          </ac:spMkLst>
        </pc:spChg>
      </pc:sldChg>
      <pc:sldChg chg="modSp modNotes">
        <pc:chgData name="Evgenia Deusheva" userId="14f857e0-cbc6-426e-ba6d-661394219a0b" providerId="ADAL" clId="{6C7090B1-613B-4262-9A35-3A858E71F0D0}" dt="2025-10-22T12:34:19.091" v="14"/>
        <pc:sldMkLst>
          <pc:docMk/>
          <pc:sldMk cId="927794819" sldId="5257"/>
        </pc:sldMkLst>
        <pc:spChg chg="mod">
          <ac:chgData name="Evgenia Deusheva" userId="14f857e0-cbc6-426e-ba6d-661394219a0b" providerId="ADAL" clId="{6C7090B1-613B-4262-9A35-3A858E71F0D0}" dt="2025-10-22T12:34:19.091" v="14"/>
          <ac:spMkLst>
            <pc:docMk/>
            <pc:sldMk cId="927794819" sldId="5257"/>
            <ac:spMk id="8" creationId="{5A490B1F-F928-4AB9-91FF-7E6354D13432}"/>
          </ac:spMkLst>
        </pc:spChg>
      </pc:sldChg>
      <pc:sldChg chg="modSp modNotes">
        <pc:chgData name="Evgenia Deusheva" userId="14f857e0-cbc6-426e-ba6d-661394219a0b" providerId="ADAL" clId="{6C7090B1-613B-4262-9A35-3A858E71F0D0}" dt="2025-10-22T12:34:19.091" v="14"/>
        <pc:sldMkLst>
          <pc:docMk/>
          <pc:sldMk cId="408489991" sldId="5258"/>
        </pc:sldMkLst>
        <pc:spChg chg="mod">
          <ac:chgData name="Evgenia Deusheva" userId="14f857e0-cbc6-426e-ba6d-661394219a0b" providerId="ADAL" clId="{6C7090B1-613B-4262-9A35-3A858E71F0D0}" dt="2025-10-22T12:34:19.091" v="14"/>
          <ac:spMkLst>
            <pc:docMk/>
            <pc:sldMk cId="408489991" sldId="5258"/>
            <ac:spMk id="5" creationId="{62681513-A021-4D2E-AA93-1EF8B3E0D92B}"/>
          </ac:spMkLst>
        </pc:spChg>
      </pc:sldChg>
      <pc:sldChg chg="modSp modNotes">
        <pc:chgData name="Evgenia Deusheva" userId="14f857e0-cbc6-426e-ba6d-661394219a0b" providerId="ADAL" clId="{6C7090B1-613B-4262-9A35-3A858E71F0D0}" dt="2025-10-22T12:34:19.091" v="14"/>
        <pc:sldMkLst>
          <pc:docMk/>
          <pc:sldMk cId="2582394153" sldId="5260"/>
        </pc:sldMkLst>
        <pc:spChg chg="mod">
          <ac:chgData name="Evgenia Deusheva" userId="14f857e0-cbc6-426e-ba6d-661394219a0b" providerId="ADAL" clId="{6C7090B1-613B-4262-9A35-3A858E71F0D0}" dt="2025-10-22T12:34:19.091" v="14"/>
          <ac:spMkLst>
            <pc:docMk/>
            <pc:sldMk cId="2582394153" sldId="5260"/>
            <ac:spMk id="13" creationId="{EEFADEBC-6455-488E-8E9B-4EBDBBD5EB78}"/>
          </ac:spMkLst>
        </pc:spChg>
      </pc:sldChg>
      <pc:sldChg chg="modSp modNotes">
        <pc:chgData name="Evgenia Deusheva" userId="14f857e0-cbc6-426e-ba6d-661394219a0b" providerId="ADAL" clId="{6C7090B1-613B-4262-9A35-3A858E71F0D0}" dt="2025-10-22T12:34:19.091" v="14"/>
        <pc:sldMkLst>
          <pc:docMk/>
          <pc:sldMk cId="2969475701" sldId="5262"/>
        </pc:sldMkLst>
        <pc:spChg chg="mod">
          <ac:chgData name="Evgenia Deusheva" userId="14f857e0-cbc6-426e-ba6d-661394219a0b" providerId="ADAL" clId="{6C7090B1-613B-4262-9A35-3A858E71F0D0}" dt="2025-10-22T12:34:19.091" v="14"/>
          <ac:spMkLst>
            <pc:docMk/>
            <pc:sldMk cId="2969475701" sldId="5262"/>
            <ac:spMk id="9" creationId="{8B873780-4D2B-4281-9962-24E9CF409A82}"/>
          </ac:spMkLst>
        </pc:spChg>
      </pc:sldChg>
      <pc:sldChg chg="modSp modNotes">
        <pc:chgData name="Evgenia Deusheva" userId="14f857e0-cbc6-426e-ba6d-661394219a0b" providerId="ADAL" clId="{6C7090B1-613B-4262-9A35-3A858E71F0D0}" dt="2025-10-22T12:34:19.091" v="14"/>
        <pc:sldMkLst>
          <pc:docMk/>
          <pc:sldMk cId="2806964454" sldId="5264"/>
        </pc:sldMkLst>
        <pc:spChg chg="mod">
          <ac:chgData name="Evgenia Deusheva" userId="14f857e0-cbc6-426e-ba6d-661394219a0b" providerId="ADAL" clId="{6C7090B1-613B-4262-9A35-3A858E71F0D0}" dt="2025-10-22T12:34:19.091" v="14"/>
          <ac:spMkLst>
            <pc:docMk/>
            <pc:sldMk cId="2806964454" sldId="5264"/>
            <ac:spMk id="5" creationId="{F8ED304C-6C70-460F-9D33-1182F26B0216}"/>
          </ac:spMkLst>
        </pc:spChg>
      </pc:sldChg>
      <pc:sldChg chg="modSp modNotes">
        <pc:chgData name="Evgenia Deusheva" userId="14f857e0-cbc6-426e-ba6d-661394219a0b" providerId="ADAL" clId="{6C7090B1-613B-4262-9A35-3A858E71F0D0}" dt="2025-10-22T12:34:19.091" v="14"/>
        <pc:sldMkLst>
          <pc:docMk/>
          <pc:sldMk cId="948435130" sldId="5267"/>
        </pc:sldMkLst>
        <pc:spChg chg="mod">
          <ac:chgData name="Evgenia Deusheva" userId="14f857e0-cbc6-426e-ba6d-661394219a0b" providerId="ADAL" clId="{6C7090B1-613B-4262-9A35-3A858E71F0D0}" dt="2025-10-22T12:34:19.091" v="14"/>
          <ac:spMkLst>
            <pc:docMk/>
            <pc:sldMk cId="948435130" sldId="5267"/>
            <ac:spMk id="8" creationId="{AB77EDC7-B536-4CCB-987C-A52BF0870BFB}"/>
          </ac:spMkLst>
        </pc:spChg>
      </pc:sldChg>
      <pc:sldChg chg="modSp modNotes">
        <pc:chgData name="Evgenia Deusheva" userId="14f857e0-cbc6-426e-ba6d-661394219a0b" providerId="ADAL" clId="{6C7090B1-613B-4262-9A35-3A858E71F0D0}" dt="2025-10-22T12:34:19.091" v="14"/>
        <pc:sldMkLst>
          <pc:docMk/>
          <pc:sldMk cId="1339640569" sldId="5268"/>
        </pc:sldMkLst>
        <pc:spChg chg="mod">
          <ac:chgData name="Evgenia Deusheva" userId="14f857e0-cbc6-426e-ba6d-661394219a0b" providerId="ADAL" clId="{6C7090B1-613B-4262-9A35-3A858E71F0D0}" dt="2025-10-22T12:34:19.091" v="14"/>
          <ac:spMkLst>
            <pc:docMk/>
            <pc:sldMk cId="1339640569" sldId="5268"/>
            <ac:spMk id="6" creationId="{57B6F8F5-E5A5-479C-83BE-DA40611F4C5E}"/>
          </ac:spMkLst>
        </pc:spChg>
      </pc:sldChg>
      <pc:sldChg chg="modSp modNotes">
        <pc:chgData name="Evgenia Deusheva" userId="14f857e0-cbc6-426e-ba6d-661394219a0b" providerId="ADAL" clId="{6C7090B1-613B-4262-9A35-3A858E71F0D0}" dt="2025-10-22T12:34:19.091" v="14"/>
        <pc:sldMkLst>
          <pc:docMk/>
          <pc:sldMk cId="2252038809" sldId="5269"/>
        </pc:sldMkLst>
        <pc:spChg chg="mod">
          <ac:chgData name="Evgenia Deusheva" userId="14f857e0-cbc6-426e-ba6d-661394219a0b" providerId="ADAL" clId="{6C7090B1-613B-4262-9A35-3A858E71F0D0}" dt="2025-10-22T12:34:19.091" v="14"/>
          <ac:spMkLst>
            <pc:docMk/>
            <pc:sldMk cId="2252038809" sldId="5269"/>
            <ac:spMk id="8" creationId="{1FC0FB24-BFDC-479D-9FE0-486FB0459485}"/>
          </ac:spMkLst>
        </pc:spChg>
      </pc:sldChg>
      <pc:sldChg chg="modSp modNotes">
        <pc:chgData name="Evgenia Deusheva" userId="14f857e0-cbc6-426e-ba6d-661394219a0b" providerId="ADAL" clId="{6C7090B1-613B-4262-9A35-3A858E71F0D0}" dt="2025-10-22T12:34:19.091" v="14"/>
        <pc:sldMkLst>
          <pc:docMk/>
          <pc:sldMk cId="1312231661" sldId="5270"/>
        </pc:sldMkLst>
        <pc:spChg chg="mod">
          <ac:chgData name="Evgenia Deusheva" userId="14f857e0-cbc6-426e-ba6d-661394219a0b" providerId="ADAL" clId="{6C7090B1-613B-4262-9A35-3A858E71F0D0}" dt="2025-10-22T12:34:19.091" v="14"/>
          <ac:spMkLst>
            <pc:docMk/>
            <pc:sldMk cId="1312231661" sldId="5270"/>
            <ac:spMk id="8" creationId="{A03CC6D5-1B9D-409C-A415-0B256FAC28B7}"/>
          </ac:spMkLst>
        </pc:spChg>
      </pc:sldChg>
      <pc:sldChg chg="modSp modNotes">
        <pc:chgData name="Evgenia Deusheva" userId="14f857e0-cbc6-426e-ba6d-661394219a0b" providerId="ADAL" clId="{6C7090B1-613B-4262-9A35-3A858E71F0D0}" dt="2025-10-22T12:34:19.091" v="14"/>
        <pc:sldMkLst>
          <pc:docMk/>
          <pc:sldMk cId="3463372513" sldId="5271"/>
        </pc:sldMkLst>
        <pc:spChg chg="mod">
          <ac:chgData name="Evgenia Deusheva" userId="14f857e0-cbc6-426e-ba6d-661394219a0b" providerId="ADAL" clId="{6C7090B1-613B-4262-9A35-3A858E71F0D0}" dt="2025-10-22T12:34:19.091" v="14"/>
          <ac:spMkLst>
            <pc:docMk/>
            <pc:sldMk cId="3463372513" sldId="5271"/>
            <ac:spMk id="7" creationId="{CF383BBA-E6DF-4D35-87A8-F6DBB6230EF4}"/>
          </ac:spMkLst>
        </pc:spChg>
      </pc:sldChg>
      <pc:sldChg chg="modSp modNotes">
        <pc:chgData name="Evgenia Deusheva" userId="14f857e0-cbc6-426e-ba6d-661394219a0b" providerId="ADAL" clId="{6C7090B1-613B-4262-9A35-3A858E71F0D0}" dt="2025-10-22T12:34:19.091" v="14"/>
        <pc:sldMkLst>
          <pc:docMk/>
          <pc:sldMk cId="3796353612" sldId="5273"/>
        </pc:sldMkLst>
        <pc:spChg chg="mod">
          <ac:chgData name="Evgenia Deusheva" userId="14f857e0-cbc6-426e-ba6d-661394219a0b" providerId="ADAL" clId="{6C7090B1-613B-4262-9A35-3A858E71F0D0}" dt="2025-10-22T12:34:19.091" v="14"/>
          <ac:spMkLst>
            <pc:docMk/>
            <pc:sldMk cId="3796353612" sldId="5273"/>
            <ac:spMk id="8" creationId="{17BF85D8-5A88-4F4C-A8FB-431108B62BBA}"/>
          </ac:spMkLst>
        </pc:spChg>
      </pc:sldChg>
      <pc:sldChg chg="modSp modNotes">
        <pc:chgData name="Evgenia Deusheva" userId="14f857e0-cbc6-426e-ba6d-661394219a0b" providerId="ADAL" clId="{6C7090B1-613B-4262-9A35-3A858E71F0D0}" dt="2025-10-22T12:34:19.091" v="14"/>
        <pc:sldMkLst>
          <pc:docMk/>
          <pc:sldMk cId="1427813484" sldId="5274"/>
        </pc:sldMkLst>
        <pc:spChg chg="mod">
          <ac:chgData name="Evgenia Deusheva" userId="14f857e0-cbc6-426e-ba6d-661394219a0b" providerId="ADAL" clId="{6C7090B1-613B-4262-9A35-3A858E71F0D0}" dt="2025-10-22T12:34:19.091" v="14"/>
          <ac:spMkLst>
            <pc:docMk/>
            <pc:sldMk cId="1427813484" sldId="5274"/>
            <ac:spMk id="6" creationId="{CEE81F59-39C2-47B2-9FDF-0373F1B82E0D}"/>
          </ac:spMkLst>
        </pc:spChg>
      </pc:sldChg>
      <pc:sldChg chg="modSp modNotes">
        <pc:chgData name="Evgenia Deusheva" userId="14f857e0-cbc6-426e-ba6d-661394219a0b" providerId="ADAL" clId="{6C7090B1-613B-4262-9A35-3A858E71F0D0}" dt="2025-10-22T12:34:19.091" v="14"/>
        <pc:sldMkLst>
          <pc:docMk/>
          <pc:sldMk cId="4054326564" sldId="5276"/>
        </pc:sldMkLst>
        <pc:spChg chg="mod">
          <ac:chgData name="Evgenia Deusheva" userId="14f857e0-cbc6-426e-ba6d-661394219a0b" providerId="ADAL" clId="{6C7090B1-613B-4262-9A35-3A858E71F0D0}" dt="2025-10-22T12:34:19.091" v="14"/>
          <ac:spMkLst>
            <pc:docMk/>
            <pc:sldMk cId="4054326564" sldId="5276"/>
            <ac:spMk id="5" creationId="{67405F7F-F78F-4392-8456-1B79D2DEAAA5}"/>
          </ac:spMkLst>
        </pc:spChg>
      </pc:sldChg>
      <pc:sldChg chg="modSp modNotes">
        <pc:chgData name="Evgenia Deusheva" userId="14f857e0-cbc6-426e-ba6d-661394219a0b" providerId="ADAL" clId="{6C7090B1-613B-4262-9A35-3A858E71F0D0}" dt="2025-10-22T12:34:19.091" v="14"/>
        <pc:sldMkLst>
          <pc:docMk/>
          <pc:sldMk cId="2766715704" sldId="5278"/>
        </pc:sldMkLst>
        <pc:spChg chg="mod">
          <ac:chgData name="Evgenia Deusheva" userId="14f857e0-cbc6-426e-ba6d-661394219a0b" providerId="ADAL" clId="{6C7090B1-613B-4262-9A35-3A858E71F0D0}" dt="2025-10-22T12:34:19.091" v="14"/>
          <ac:spMkLst>
            <pc:docMk/>
            <pc:sldMk cId="2766715704" sldId="5278"/>
            <ac:spMk id="6" creationId="{A1A4128A-4964-487D-A7A7-E39CED5CB9BB}"/>
          </ac:spMkLst>
        </pc:spChg>
      </pc:sldChg>
      <pc:sldChg chg="modSp modNotes">
        <pc:chgData name="Evgenia Deusheva" userId="14f857e0-cbc6-426e-ba6d-661394219a0b" providerId="ADAL" clId="{6C7090B1-613B-4262-9A35-3A858E71F0D0}" dt="2025-10-22T12:34:19.091" v="14"/>
        <pc:sldMkLst>
          <pc:docMk/>
          <pc:sldMk cId="2689953177" sldId="5279"/>
        </pc:sldMkLst>
        <pc:spChg chg="mod">
          <ac:chgData name="Evgenia Deusheva" userId="14f857e0-cbc6-426e-ba6d-661394219a0b" providerId="ADAL" clId="{6C7090B1-613B-4262-9A35-3A858E71F0D0}" dt="2025-10-22T12:34:19.091" v="14"/>
          <ac:spMkLst>
            <pc:docMk/>
            <pc:sldMk cId="2689953177" sldId="5279"/>
            <ac:spMk id="8" creationId="{19CA992A-7D74-4061-BC8C-81878071B101}"/>
          </ac:spMkLst>
        </pc:spChg>
      </pc:sldChg>
      <pc:sldChg chg="modSp modNotes">
        <pc:chgData name="Evgenia Deusheva" userId="14f857e0-cbc6-426e-ba6d-661394219a0b" providerId="ADAL" clId="{6C7090B1-613B-4262-9A35-3A858E71F0D0}" dt="2025-10-22T12:34:19.091" v="14"/>
        <pc:sldMkLst>
          <pc:docMk/>
          <pc:sldMk cId="3168063653" sldId="5280"/>
        </pc:sldMkLst>
        <pc:spChg chg="mod">
          <ac:chgData name="Evgenia Deusheva" userId="14f857e0-cbc6-426e-ba6d-661394219a0b" providerId="ADAL" clId="{6C7090B1-613B-4262-9A35-3A858E71F0D0}" dt="2025-10-22T12:34:19.091" v="14"/>
          <ac:spMkLst>
            <pc:docMk/>
            <pc:sldMk cId="3168063653" sldId="5280"/>
            <ac:spMk id="15" creationId="{33646E31-98AB-4717-817E-45C9D33C3127}"/>
          </ac:spMkLst>
        </pc:spChg>
      </pc:sldChg>
      <pc:sldChg chg="modSp modNotes">
        <pc:chgData name="Evgenia Deusheva" userId="14f857e0-cbc6-426e-ba6d-661394219a0b" providerId="ADAL" clId="{6C7090B1-613B-4262-9A35-3A858E71F0D0}" dt="2025-10-22T12:34:19.091" v="14"/>
        <pc:sldMkLst>
          <pc:docMk/>
          <pc:sldMk cId="3773426238" sldId="5281"/>
        </pc:sldMkLst>
        <pc:spChg chg="mod">
          <ac:chgData name="Evgenia Deusheva" userId="14f857e0-cbc6-426e-ba6d-661394219a0b" providerId="ADAL" clId="{6C7090B1-613B-4262-9A35-3A858E71F0D0}" dt="2025-10-22T12:34:19.091" v="14"/>
          <ac:spMkLst>
            <pc:docMk/>
            <pc:sldMk cId="3773426238" sldId="5281"/>
            <ac:spMk id="6" creationId="{E6D7AB27-C3DD-4FCF-BFBE-87A0A9757290}"/>
          </ac:spMkLst>
        </pc:spChg>
      </pc:sldChg>
      <pc:sldChg chg="modSp modNotes">
        <pc:chgData name="Evgenia Deusheva" userId="14f857e0-cbc6-426e-ba6d-661394219a0b" providerId="ADAL" clId="{6C7090B1-613B-4262-9A35-3A858E71F0D0}" dt="2025-10-22T12:34:19.091" v="14"/>
        <pc:sldMkLst>
          <pc:docMk/>
          <pc:sldMk cId="1757688014" sldId="5282"/>
        </pc:sldMkLst>
        <pc:spChg chg="mod">
          <ac:chgData name="Evgenia Deusheva" userId="14f857e0-cbc6-426e-ba6d-661394219a0b" providerId="ADAL" clId="{6C7090B1-613B-4262-9A35-3A858E71F0D0}" dt="2025-10-22T12:34:19.091" v="14"/>
          <ac:spMkLst>
            <pc:docMk/>
            <pc:sldMk cId="1757688014" sldId="5282"/>
            <ac:spMk id="6" creationId="{6F71AAB7-ABDA-4680-891F-F1F14E776659}"/>
          </ac:spMkLst>
        </pc:spChg>
      </pc:sldChg>
      <pc:sldChg chg="modSp modNotes">
        <pc:chgData name="Evgenia Deusheva" userId="14f857e0-cbc6-426e-ba6d-661394219a0b" providerId="ADAL" clId="{6C7090B1-613B-4262-9A35-3A858E71F0D0}" dt="2025-10-22T12:34:19.091" v="14"/>
        <pc:sldMkLst>
          <pc:docMk/>
          <pc:sldMk cId="2624026462" sldId="5283"/>
        </pc:sldMkLst>
        <pc:spChg chg="mod">
          <ac:chgData name="Evgenia Deusheva" userId="14f857e0-cbc6-426e-ba6d-661394219a0b" providerId="ADAL" clId="{6C7090B1-613B-4262-9A35-3A858E71F0D0}" dt="2025-10-22T12:34:19.091" v="14"/>
          <ac:spMkLst>
            <pc:docMk/>
            <pc:sldMk cId="2624026462" sldId="5283"/>
            <ac:spMk id="5" creationId="{4F7AA8E5-8983-480A-9A4E-1A46CA44BA3D}"/>
          </ac:spMkLst>
        </pc:spChg>
      </pc:sldChg>
      <pc:sldChg chg="modSp modNotes">
        <pc:chgData name="Evgenia Deusheva" userId="14f857e0-cbc6-426e-ba6d-661394219a0b" providerId="ADAL" clId="{6C7090B1-613B-4262-9A35-3A858E71F0D0}" dt="2025-10-22T12:34:19.091" v="14"/>
        <pc:sldMkLst>
          <pc:docMk/>
          <pc:sldMk cId="1194061380" sldId="5284"/>
        </pc:sldMkLst>
        <pc:spChg chg="mod">
          <ac:chgData name="Evgenia Deusheva" userId="14f857e0-cbc6-426e-ba6d-661394219a0b" providerId="ADAL" clId="{6C7090B1-613B-4262-9A35-3A858E71F0D0}" dt="2025-10-22T12:34:19.091" v="14"/>
          <ac:spMkLst>
            <pc:docMk/>
            <pc:sldMk cId="1194061380" sldId="5284"/>
            <ac:spMk id="5" creationId="{AD616CF6-FE5E-4DAE-90C5-5022585B3D4F}"/>
          </ac:spMkLst>
        </pc:spChg>
      </pc:sldChg>
      <pc:sldChg chg="modNotes">
        <pc:chgData name="Evgenia Deusheva" userId="14f857e0-cbc6-426e-ba6d-661394219a0b" providerId="ADAL" clId="{6C7090B1-613B-4262-9A35-3A858E71F0D0}" dt="2025-10-22T12:34:19.091" v="14"/>
        <pc:sldMkLst>
          <pc:docMk/>
          <pc:sldMk cId="3726680585" sldId="2147482282"/>
        </pc:sldMkLst>
      </pc:sldChg>
      <pc:sldChg chg="modNotes">
        <pc:chgData name="Evgenia Deusheva" userId="14f857e0-cbc6-426e-ba6d-661394219a0b" providerId="ADAL" clId="{6C7090B1-613B-4262-9A35-3A858E71F0D0}" dt="2025-10-22T12:34:19.091" v="14"/>
        <pc:sldMkLst>
          <pc:docMk/>
          <pc:sldMk cId="3438179201" sldId="2147482283"/>
        </pc:sldMkLst>
      </pc:sldChg>
      <pc:sldChg chg="modNotes">
        <pc:chgData name="Evgenia Deusheva" userId="14f857e0-cbc6-426e-ba6d-661394219a0b" providerId="ADAL" clId="{6C7090B1-613B-4262-9A35-3A858E71F0D0}" dt="2025-10-22T12:34:19.091" v="14"/>
        <pc:sldMkLst>
          <pc:docMk/>
          <pc:sldMk cId="3710110408" sldId="2147482286"/>
        </pc:sldMkLst>
      </pc:sldChg>
      <pc:sldChg chg="modNotes">
        <pc:chgData name="Evgenia Deusheva" userId="14f857e0-cbc6-426e-ba6d-661394219a0b" providerId="ADAL" clId="{6C7090B1-613B-4262-9A35-3A858E71F0D0}" dt="2025-10-22T12:34:19.091" v="14"/>
        <pc:sldMkLst>
          <pc:docMk/>
          <pc:sldMk cId="1607096954" sldId="2147482288"/>
        </pc:sldMkLst>
      </pc:sldChg>
      <pc:sldChg chg="modNotes">
        <pc:chgData name="Evgenia Deusheva" userId="14f857e0-cbc6-426e-ba6d-661394219a0b" providerId="ADAL" clId="{6C7090B1-613B-4262-9A35-3A858E71F0D0}" dt="2025-10-22T12:34:19.091" v="14"/>
        <pc:sldMkLst>
          <pc:docMk/>
          <pc:sldMk cId="1392774970" sldId="2147482289"/>
        </pc:sldMkLst>
      </pc:sldChg>
      <pc:sldChg chg="modSp mod modNotes">
        <pc:chgData name="Evgenia Deusheva" userId="14f857e0-cbc6-426e-ba6d-661394219a0b" providerId="ADAL" clId="{6C7090B1-613B-4262-9A35-3A858E71F0D0}" dt="2025-10-22T12:34:19.091" v="14"/>
        <pc:sldMkLst>
          <pc:docMk/>
          <pc:sldMk cId="3084234793" sldId="2147482294"/>
        </pc:sldMkLst>
        <pc:grpChg chg="mod">
          <ac:chgData name="Evgenia Deusheva" userId="14f857e0-cbc6-426e-ba6d-661394219a0b" providerId="ADAL" clId="{6C7090B1-613B-4262-9A35-3A858E71F0D0}" dt="2025-10-22T12:15:25.996" v="13" actId="14100"/>
          <ac:grpSpMkLst>
            <pc:docMk/>
            <pc:sldMk cId="3084234793" sldId="2147482294"/>
            <ac:grpSpMk id="2" creationId="{D9E0235D-EA73-7D5E-8EBD-527FABB60693}"/>
          </ac:grpSpMkLst>
        </pc:grpChg>
        <pc:picChg chg="mod">
          <ac:chgData name="Evgenia Deusheva" userId="14f857e0-cbc6-426e-ba6d-661394219a0b" providerId="ADAL" clId="{6C7090B1-613B-4262-9A35-3A858E71F0D0}" dt="2025-10-22T12:15:17.745" v="8" actId="1038"/>
          <ac:picMkLst>
            <pc:docMk/>
            <pc:sldMk cId="3084234793" sldId="2147482294"/>
            <ac:picMk id="6" creationId="{B6008E5E-10E0-C677-1761-919F8CE6F056}"/>
          </ac:picMkLst>
        </pc:picChg>
      </pc:sldChg>
      <pc:sldChg chg="modNotes">
        <pc:chgData name="Evgenia Deusheva" userId="14f857e0-cbc6-426e-ba6d-661394219a0b" providerId="ADAL" clId="{6C7090B1-613B-4262-9A35-3A858E71F0D0}" dt="2025-10-22T12:34:19.091" v="14"/>
        <pc:sldMkLst>
          <pc:docMk/>
          <pc:sldMk cId="1173936229" sldId="2147482296"/>
        </pc:sldMkLst>
      </pc:sldChg>
      <pc:sldChg chg="modNotes">
        <pc:chgData name="Evgenia Deusheva" userId="14f857e0-cbc6-426e-ba6d-661394219a0b" providerId="ADAL" clId="{6C7090B1-613B-4262-9A35-3A858E71F0D0}" dt="2025-10-22T12:34:19.091" v="14"/>
        <pc:sldMkLst>
          <pc:docMk/>
          <pc:sldMk cId="2310480793" sldId="2147482297"/>
        </pc:sldMkLst>
      </pc:sldChg>
      <pc:sldChg chg="del">
        <pc:chgData name="Evgenia Deusheva" userId="14f857e0-cbc6-426e-ba6d-661394219a0b" providerId="ADAL" clId="{6C7090B1-613B-4262-9A35-3A858E71F0D0}" dt="2025-10-22T12:09:20.352" v="2" actId="47"/>
        <pc:sldMkLst>
          <pc:docMk/>
          <pc:sldMk cId="2667190756" sldId="2147482302"/>
        </pc:sldMkLst>
      </pc:sldChg>
      <pc:sldChg chg="ord">
        <pc:chgData name="Evgenia Deusheva" userId="14f857e0-cbc6-426e-ba6d-661394219a0b" providerId="ADAL" clId="{6C7090B1-613B-4262-9A35-3A858E71F0D0}" dt="2025-10-22T12:09:13.514" v="1"/>
        <pc:sldMkLst>
          <pc:docMk/>
          <pc:sldMk cId="138050157" sldId="2147482303"/>
        </pc:sldMkLst>
      </pc:sldChg>
      <pc:sldChg chg="del">
        <pc:chgData name="Evgenia Deusheva" userId="14f857e0-cbc6-426e-ba6d-661394219a0b" providerId="ADAL" clId="{6C7090B1-613B-4262-9A35-3A858E71F0D0}" dt="2025-10-22T12:09:21.833" v="3" actId="47"/>
        <pc:sldMkLst>
          <pc:docMk/>
          <pc:sldMk cId="2968429450" sldId="2147482304"/>
        </pc:sldMkLst>
      </pc:sldChg>
      <pc:sldChg chg="modSp modNotes">
        <pc:chgData name="Evgenia Deusheva" userId="14f857e0-cbc6-426e-ba6d-661394219a0b" providerId="ADAL" clId="{6C7090B1-613B-4262-9A35-3A858E71F0D0}" dt="2025-10-22T12:34:19.091" v="14"/>
        <pc:sldMkLst>
          <pc:docMk/>
          <pc:sldMk cId="2961453376" sldId="2147482305"/>
        </pc:sldMkLst>
        <pc:spChg chg="mod">
          <ac:chgData name="Evgenia Deusheva" userId="14f857e0-cbc6-426e-ba6d-661394219a0b" providerId="ADAL" clId="{6C7090B1-613B-4262-9A35-3A858E71F0D0}" dt="2025-10-22T12:34:19.091" v="14"/>
          <ac:spMkLst>
            <pc:docMk/>
            <pc:sldMk cId="2961453376" sldId="2147482305"/>
            <ac:spMk id="5" creationId="{AEC6CE1C-DFB5-0AF1-0BFD-6C46BD65AE12}"/>
          </ac:spMkLst>
        </pc:spChg>
        <pc:spChg chg="mod">
          <ac:chgData name="Evgenia Deusheva" userId="14f857e0-cbc6-426e-ba6d-661394219a0b" providerId="ADAL" clId="{6C7090B1-613B-4262-9A35-3A858E71F0D0}" dt="2025-10-22T12:34:19.091" v="14"/>
          <ac:spMkLst>
            <pc:docMk/>
            <pc:sldMk cId="2961453376" sldId="2147482305"/>
            <ac:spMk id="40" creationId="{01DA08E1-FF85-D5A2-5027-D92E22C70E2C}"/>
          </ac:spMkLst>
        </pc:spChg>
      </pc:sldChg>
      <pc:sldMasterChg chg="modSp">
        <pc:chgData name="Evgenia Deusheva" userId="14f857e0-cbc6-426e-ba6d-661394219a0b" providerId="ADAL" clId="{6C7090B1-613B-4262-9A35-3A858E71F0D0}" dt="2025-10-22T12:34:19.091" v="14"/>
        <pc:sldMasterMkLst>
          <pc:docMk/>
          <pc:sldMasterMk cId="236231993" sldId="2147483865"/>
        </pc:sldMasterMkLst>
        <pc:spChg chg="mod">
          <ac:chgData name="Evgenia Deusheva" userId="14f857e0-cbc6-426e-ba6d-661394219a0b" providerId="ADAL" clId="{6C7090B1-613B-4262-9A35-3A858E71F0D0}" dt="2025-10-22T12:34:19.091" v="14"/>
          <ac:spMkLst>
            <pc:docMk/>
            <pc:sldMasterMk cId="236231993" sldId="2147483865"/>
            <ac:spMk id="4" creationId="{62F754B4-2DFF-65C7-F08F-909E05043ABC}"/>
          </ac:spMkLst>
        </pc:spChg>
      </pc:sldMasterChg>
      <pc:sldMasterChg chg="modSldLayout">
        <pc:chgData name="Evgenia Deusheva" userId="14f857e0-cbc6-426e-ba6d-661394219a0b" providerId="ADAL" clId="{6C7090B1-613B-4262-9A35-3A858E71F0D0}" dt="2025-10-22T12:34:19.091" v="14"/>
        <pc:sldMasterMkLst>
          <pc:docMk/>
          <pc:sldMasterMk cId="2505976704" sldId="2147484017"/>
        </pc:sldMasterMkLst>
        <pc:sldLayoutChg chg="modSp">
          <pc:chgData name="Evgenia Deusheva" userId="14f857e0-cbc6-426e-ba6d-661394219a0b" providerId="ADAL" clId="{6C7090B1-613B-4262-9A35-3A858E71F0D0}" dt="2025-10-22T12:34:19.091" v="14"/>
          <pc:sldLayoutMkLst>
            <pc:docMk/>
            <pc:sldMasterMk cId="2505976704" sldId="2147484017"/>
            <pc:sldLayoutMk cId="2380203604" sldId="2147484018"/>
          </pc:sldLayoutMkLst>
          <pc:spChg chg="mod">
            <ac:chgData name="Evgenia Deusheva" userId="14f857e0-cbc6-426e-ba6d-661394219a0b" providerId="ADAL" clId="{6C7090B1-613B-4262-9A35-3A858E71F0D0}" dt="2025-10-22T12:34:19.091" v="14"/>
            <ac:spMkLst>
              <pc:docMk/>
              <pc:sldMasterMk cId="2505976704" sldId="2147484017"/>
              <pc:sldLayoutMk cId="2380203604" sldId="2147484018"/>
              <ac:spMk id="3" creationId="{CF9C91B1-AFC4-7DB9-D557-386C4009B090}"/>
            </ac:spMkLst>
          </pc:spChg>
        </pc:sldLayoutChg>
        <pc:sldLayoutChg chg="modSp">
          <pc:chgData name="Evgenia Deusheva" userId="14f857e0-cbc6-426e-ba6d-661394219a0b" providerId="ADAL" clId="{6C7090B1-613B-4262-9A35-3A858E71F0D0}" dt="2025-10-22T12:34:19.091" v="14"/>
          <pc:sldLayoutMkLst>
            <pc:docMk/>
            <pc:sldMasterMk cId="2505976704" sldId="2147484017"/>
            <pc:sldLayoutMk cId="4189083548" sldId="2147484021"/>
          </pc:sldLayoutMkLst>
          <pc:spChg chg="mod">
            <ac:chgData name="Evgenia Deusheva" userId="14f857e0-cbc6-426e-ba6d-661394219a0b" providerId="ADAL" clId="{6C7090B1-613B-4262-9A35-3A858E71F0D0}" dt="2025-10-22T12:34:19.091" v="14"/>
            <ac:spMkLst>
              <pc:docMk/>
              <pc:sldMasterMk cId="2505976704" sldId="2147484017"/>
              <pc:sldLayoutMk cId="4189083548" sldId="2147484021"/>
              <ac:spMk id="4" creationId="{63E25A3C-83F1-98BF-7D64-91908C95DF06}"/>
            </ac:spMkLst>
          </pc:spChg>
        </pc:sldLayoutChg>
        <pc:sldLayoutChg chg="modSp">
          <pc:chgData name="Evgenia Deusheva" userId="14f857e0-cbc6-426e-ba6d-661394219a0b" providerId="ADAL" clId="{6C7090B1-613B-4262-9A35-3A858E71F0D0}" dt="2025-10-22T12:34:19.091" v="14"/>
          <pc:sldLayoutMkLst>
            <pc:docMk/>
            <pc:sldMasterMk cId="2505976704" sldId="2147484017"/>
            <pc:sldLayoutMk cId="3800436893" sldId="2147484022"/>
          </pc:sldLayoutMkLst>
          <pc:spChg chg="mod">
            <ac:chgData name="Evgenia Deusheva" userId="14f857e0-cbc6-426e-ba6d-661394219a0b" providerId="ADAL" clId="{6C7090B1-613B-4262-9A35-3A858E71F0D0}" dt="2025-10-22T12:34:19.091" v="14"/>
            <ac:spMkLst>
              <pc:docMk/>
              <pc:sldMasterMk cId="2505976704" sldId="2147484017"/>
              <pc:sldLayoutMk cId="3800436893" sldId="2147484022"/>
              <ac:spMk id="2" creationId="{1B7194E1-1E29-FB20-49E5-C7E58819D723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17.xml"/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8E081E9-8547-7FA3-0A21-F9DC2C8D744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E069E0F-3E31-6378-1E71-2FAAE48D9C6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B2D463-285E-45EF-BF27-EA9CF3C197CB}" type="datetimeFigureOut">
              <a:rPr lang="en-US" smtClean="0">
                <a:latin typeface="Arial" panose="020B0604020202020204" pitchFamily="34" charset="0"/>
              </a:rPr>
              <a:t>10/22/2025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F6ADCF-561F-9930-D80B-1896541B6ADC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10742613"/>
            <a:ext cx="201041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r>
              <a:rPr lang="en-US" sz="800" b="1" dirty="0">
                <a:solidFill>
                  <a:srgbClr val="4472C4"/>
                </a:solidFill>
              </a:rPr>
              <a:t> </a:t>
            </a:r>
            <a:endParaRPr lang="en-US" sz="800" b="1" dirty="0">
              <a:solidFill>
                <a:srgbClr val="0000F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EFC7676-DC27-50EB-4BE4-B1D2A808583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81811-245E-4265-AEF6-06379CFEBB5A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7335700"/>
      </p:ext>
    </p:extLst>
  </p:cSld>
  <p:clrMap bg1="lt1" tx1="dk1" bg2="lt2" tx2="dk2" accent1="accent1" accent2="accent2" accent3="accent3" accent4="accent4" accent5="accent5" accent6="accent6" hlink="hlink" folHlink="folHlink"/>
  <p:hf hdr="0" dt="0"/>
  <p:extLst>
    <p:ext uri="{56416CCD-93CA-4268-BC5B-53C4BB910035}">
      <p15:sldGuideLst xmlns:p15="http://schemas.microsoft.com/office/powerpoint/2012/main">
        <p15:guide id="1" orient="horz" pos="3562" userDrawn="1">
          <p15:clr>
            <a:srgbClr val="F26B43"/>
          </p15:clr>
        </p15:guide>
        <p15:guide id="2" pos="6332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16.xml"/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E39150-CA87-5B43-9344-6F6343374F94}" type="datetimeFigureOut">
              <a:rPr lang="en-AE" smtClean="0">
                <a:latin typeface="Arial" panose="020B0604020202020204" pitchFamily="34" charset="0"/>
              </a:rPr>
              <a:t>22/10/2025</a:t>
            </a:fld>
            <a:endParaRPr lang="en-AE">
              <a:latin typeface="Arial" panose="020B0604020202020204" pitchFamily="34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659563" y="1414463"/>
            <a:ext cx="6784975" cy="3816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09775" y="5441950"/>
            <a:ext cx="16084550" cy="4454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10742613"/>
            <a:ext cx="201041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lang="en-US"/>
            </a:lvl1pPr>
          </a:lstStyle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‹#›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6425919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r" defTabSz="415869" rtl="1" eaLnBrk="1" latinLnBrk="0" hangingPunct="1">
      <a:defRPr sz="546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207935" algn="r" defTabSz="415869" rtl="1" eaLnBrk="1" latinLnBrk="0" hangingPunct="1">
      <a:defRPr sz="546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415869" algn="r" defTabSz="415869" rtl="1" eaLnBrk="1" latinLnBrk="0" hangingPunct="1">
      <a:defRPr sz="546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623804" algn="r" defTabSz="415869" rtl="1" eaLnBrk="1" latinLnBrk="0" hangingPunct="1">
      <a:defRPr sz="546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831738" algn="r" defTabSz="415869" rtl="1" eaLnBrk="1" latinLnBrk="0" hangingPunct="1">
      <a:defRPr sz="546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039673" algn="r" defTabSz="415869" rtl="1" eaLnBrk="1" latinLnBrk="0" hangingPunct="1">
      <a:defRPr sz="546" kern="1200">
        <a:solidFill>
          <a:schemeClr val="tx1"/>
        </a:solidFill>
        <a:latin typeface="+mn-lt"/>
        <a:ea typeface="+mn-ea"/>
        <a:cs typeface="+mn-cs"/>
      </a:defRPr>
    </a:lvl6pPr>
    <a:lvl7pPr marL="1247607" algn="r" defTabSz="415869" rtl="1" eaLnBrk="1" latinLnBrk="0" hangingPunct="1">
      <a:defRPr sz="546" kern="1200">
        <a:solidFill>
          <a:schemeClr val="tx1"/>
        </a:solidFill>
        <a:latin typeface="+mn-lt"/>
        <a:ea typeface="+mn-ea"/>
        <a:cs typeface="+mn-cs"/>
      </a:defRPr>
    </a:lvl7pPr>
    <a:lvl8pPr marL="1455542" algn="r" defTabSz="415869" rtl="1" eaLnBrk="1" latinLnBrk="0" hangingPunct="1">
      <a:defRPr sz="546" kern="1200">
        <a:solidFill>
          <a:schemeClr val="tx1"/>
        </a:solidFill>
        <a:latin typeface="+mn-lt"/>
        <a:ea typeface="+mn-ea"/>
        <a:cs typeface="+mn-cs"/>
      </a:defRPr>
    </a:lvl8pPr>
    <a:lvl9pPr marL="1663476" algn="r" defTabSz="415869" rtl="1" eaLnBrk="1" latinLnBrk="0" hangingPunct="1">
      <a:defRPr sz="546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562" userDrawn="1">
          <p15:clr>
            <a:srgbClr val="F26B43"/>
          </p15:clr>
        </p15:guide>
        <p15:guide id="2" pos="6332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9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0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32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34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2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36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38.xm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4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40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5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42.xml"/></Relationships>
</file>

<file path=ppt/notesSlides/_rels/notesSlide16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6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44.xm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7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46.xml"/></Relationships>
</file>

<file path=ppt/notesSlides/_rels/notesSlide18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8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48.xml"/></Relationships>
</file>

<file path=ppt/notesSlides/_rels/notesSlide19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9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50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52.xml"/></Relationships>
</file>

<file path=ppt/notesSlides/_rels/notesSlide2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2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54.xml"/></Relationships>
</file>

<file path=ppt/notesSlides/_rels/notesSlide2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56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5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58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9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60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21.xml"/></Relationships>
</file>

<file path=ppt/notesSlides/_rels/notesSlide30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0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62.xml"/></Relationships>
</file>

<file path=ppt/notesSlides/_rels/notesSlide3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64.xml"/></Relationships>
</file>

<file path=ppt/notesSlides/_rels/notesSlide3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2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66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trc.gov.ae/ffcp/" TargetMode="External"/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5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68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slide" Target="../slides/slide4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24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slide" Target="../slides/slide5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26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slide" Target="../slides/slide6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28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slide" Target="../slides/slide9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3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b="1" dirty="0">
                <a:solidFill>
                  <a:srgbClr val="4472C4"/>
                </a:solidFill>
              </a:rPr>
              <a:t> </a:t>
            </a:r>
            <a:endParaRPr lang="en-US" sz="800" b="1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1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36477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r" defTabSz="415869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OM" dirty="0"/>
              <a:t>هنا يطلب من الطلاب أن يتوقعوا من خلال الصور الآتية نوع التكنولوجيا الموضحة و أن يجاوبوا بصوت عال (تحدي تفاعلي آخر)</a:t>
            </a:r>
            <a:endParaRPr lang="en-AE" dirty="0"/>
          </a:p>
          <a:p>
            <a:endParaRPr lang="en-A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b="1" dirty="0">
                <a:solidFill>
                  <a:srgbClr val="4472C4"/>
                </a:solidFill>
              </a:rPr>
              <a:t> </a:t>
            </a:r>
            <a:endParaRPr lang="en-US" sz="800" b="1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10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36336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r" defTabSz="415869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OM" dirty="0"/>
              <a:t>هنا يطلب من الطلاب أن يتوقعوا من خلال الصور الآتية نوع التكنولوجيا الموضحة و أن يجاوبوا بصوت عال (تحدي تفاعلي آخر)</a:t>
            </a:r>
            <a:endParaRPr lang="en-AE" dirty="0"/>
          </a:p>
          <a:p>
            <a:endParaRPr lang="en-A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b="1" dirty="0">
                <a:solidFill>
                  <a:srgbClr val="4472C4"/>
                </a:solidFill>
              </a:rPr>
              <a:t> </a:t>
            </a:r>
            <a:endParaRPr lang="en-US" sz="800" b="1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11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26752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r" defTabSz="415869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OM" dirty="0"/>
              <a:t>هنا يطلب من الطلاب أن يتوقعوا من خلال الصور الآتية نوع التكنولوجيا الموضحة و أن يجاوبوا بصوت عال (تحدي تفاعلي آخر)</a:t>
            </a:r>
            <a:endParaRPr lang="en-AE" dirty="0"/>
          </a:p>
          <a:p>
            <a:endParaRPr lang="en-A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b="1" dirty="0">
                <a:solidFill>
                  <a:srgbClr val="4472C4"/>
                </a:solidFill>
              </a:rPr>
              <a:t> </a:t>
            </a:r>
            <a:endParaRPr lang="en-US" sz="800" b="1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12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59475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r" defTabSz="415869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OM" dirty="0"/>
              <a:t>هنا يطلب من الطلاب أن يتوقعوا من خلال الصور الآتية نوع التكنولوجيا الموضحة و أن يجاوبوا بصوت عال (تحدي تفاعلي آخر)</a:t>
            </a:r>
            <a:endParaRPr lang="en-AE" dirty="0"/>
          </a:p>
          <a:p>
            <a:endParaRPr lang="en-A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b="1" dirty="0">
                <a:solidFill>
                  <a:srgbClr val="4472C4"/>
                </a:solidFill>
              </a:rPr>
              <a:t> </a:t>
            </a:r>
            <a:endParaRPr lang="en-US" sz="800" b="1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13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9736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r" defTabSz="415869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OM" dirty="0"/>
              <a:t>هنا يطلب من الطلاب أن يتوقعوا من خلال الصور الآتية نوع التكنولوجيا الموضحة و أن يجاوبوا بصوت عال (تحدي تفاعلي آخر)</a:t>
            </a:r>
            <a:endParaRPr lang="en-AE" dirty="0"/>
          </a:p>
          <a:p>
            <a:endParaRPr lang="en-A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b="1" dirty="0">
                <a:solidFill>
                  <a:srgbClr val="4472C4"/>
                </a:solidFill>
              </a:rPr>
              <a:t> </a:t>
            </a:r>
            <a:endParaRPr lang="en-US" sz="800" b="1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14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28201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r" defTabSz="415869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OM" dirty="0"/>
              <a:t>هنا يطلب من الطلاب أن يتوقعوا من خلال الصور الآتية نوع التكنولوجيا الموضحة و أن يجاوبوا بصوت عال (تحدي تفاعلي آخر)</a:t>
            </a:r>
            <a:endParaRPr lang="en-AE" dirty="0"/>
          </a:p>
          <a:p>
            <a:endParaRPr lang="en-A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b="1" dirty="0">
                <a:solidFill>
                  <a:srgbClr val="4472C4"/>
                </a:solidFill>
              </a:rPr>
              <a:t> </a:t>
            </a:r>
            <a:endParaRPr lang="en-US" sz="800" b="1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15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118293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r" defTabSz="415869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OM" dirty="0"/>
              <a:t>هنا يطلب من الطلاب أن يتوقعوا من خلال الصور الآتية نوع التكنولوجيا الموضحة و أن يجاوبوا بصوت عال (تحدي تفاعلي آخر)</a:t>
            </a:r>
            <a:endParaRPr lang="en-AE" dirty="0"/>
          </a:p>
          <a:p>
            <a:endParaRPr lang="en-A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b="1" dirty="0">
                <a:solidFill>
                  <a:srgbClr val="4472C4"/>
                </a:solidFill>
              </a:rPr>
              <a:t> </a:t>
            </a:r>
            <a:endParaRPr lang="en-US" sz="800" b="1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16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386422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r" defTabSz="415869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OM" dirty="0"/>
              <a:t>هنا يطلب من الطلاب أن يتوقعوا من خلال الصور الآتية نوع التكنولوجيا الموضحة و أن يجاوبوا بصوت عال (تحدي تفاعلي آخر)</a:t>
            </a:r>
            <a:endParaRPr lang="en-AE" dirty="0"/>
          </a:p>
          <a:p>
            <a:endParaRPr lang="en-A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b="1" dirty="0">
                <a:solidFill>
                  <a:srgbClr val="4472C4"/>
                </a:solidFill>
              </a:rPr>
              <a:t> </a:t>
            </a:r>
            <a:endParaRPr lang="en-US" sz="800" b="1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17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581211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r" defTabSz="415869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OM" dirty="0"/>
              <a:t>هنا يطلب من الطلاب أن يتوقعوا من خلال الصور الآتية نوع التكنولوجيا الموضحة و أن يجاوبوا بصوت عال (تحدي تفاعلي آخر)</a:t>
            </a:r>
            <a:endParaRPr lang="en-AE" dirty="0"/>
          </a:p>
          <a:p>
            <a:endParaRPr lang="ar-OM" dirty="0"/>
          </a:p>
          <a:p>
            <a:r>
              <a:rPr lang="ar-OM" dirty="0"/>
              <a:t>مع الضغط في العرض التقديمي من أجل سؤالهم عن الصورة فقط ثم الضغط مرة أخرى لتوضيح الاجابة</a:t>
            </a:r>
          </a:p>
          <a:p>
            <a:endParaRPr lang="ar-OM" dirty="0"/>
          </a:p>
          <a:p>
            <a:r>
              <a:rPr lang="ar-OM" dirty="0"/>
              <a:t>هنا بطبيعة الحال نتحدث عن تكنولوجيا البناء المستقبلي و هي الأبراج مثل برج خليفة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b="1" dirty="0">
                <a:solidFill>
                  <a:srgbClr val="4472C4"/>
                </a:solidFill>
              </a:rPr>
              <a:t> </a:t>
            </a:r>
            <a:endParaRPr lang="en-US" sz="800" b="1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18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109948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ar-OM" dirty="0"/>
              <a:t>الشريحة موضحة </a:t>
            </a:r>
            <a:endParaRPr lang="en-A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b="1" dirty="0">
                <a:solidFill>
                  <a:srgbClr val="4472C4"/>
                </a:solidFill>
              </a:rPr>
              <a:t> </a:t>
            </a:r>
            <a:endParaRPr lang="en-US" sz="800" b="1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19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3613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ar-OM" dirty="0"/>
              <a:t>السلام عليكم جميعا </a:t>
            </a:r>
          </a:p>
          <a:p>
            <a:r>
              <a:rPr lang="ar-OM" dirty="0"/>
              <a:t>نود من حضراتكم الكرام جعل الجلسة مع الطلاب تفاعلية بحيث يفكر الطالب و يناقش مع زملائه المواضيع  التي لها علاقة بالمستقبل و التكنولوجيا و كيفية تأثيرها على حياتنا.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2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154995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ar-OM" dirty="0"/>
              <a:t>هنا يتم يتم التشديد على أهمية الأخلاق و النوايا الحميدة في صناعة التكنولوجيا من أجل تحقيق رفاهية الناس و نشر العدل و الخير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20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18508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r" defTabSz="415869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OM" dirty="0"/>
              <a:t>الشريحة موضحة </a:t>
            </a:r>
            <a:endParaRPr lang="en-AE" dirty="0"/>
          </a:p>
          <a:p>
            <a:endParaRPr lang="en-A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b="1" dirty="0">
                <a:solidFill>
                  <a:srgbClr val="4472C4"/>
                </a:solidFill>
              </a:rPr>
              <a:t> </a:t>
            </a:r>
            <a:endParaRPr lang="en-US" sz="800" b="1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21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382940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ar-OM" dirty="0"/>
              <a:t>هنا يتم اخبار الطالب بأن قادتنا الأفاضل و شيوخنا الكرام أطال الله أعمارهم هكذا يرون المستقبل و يتخيلونه:</a:t>
            </a:r>
          </a:p>
          <a:p>
            <a:endParaRPr lang="ar-OM" dirty="0"/>
          </a:p>
          <a:p>
            <a:r>
              <a:rPr lang="ar-OM" dirty="0"/>
              <a:t>مستقبل قائم على الذكاء الاصطناعي الفائق و مستقبل فيه روبوتات ذاتية القيادة و بشر آليون و مواصلات و مدن ذكية للعيش برفاهية لجميع الناس على هذا الوطن المبارك</a:t>
            </a:r>
            <a:endParaRPr lang="en-US" dirty="0"/>
          </a:p>
          <a:p>
            <a:endParaRPr lang="en-A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b="1" dirty="0">
                <a:solidFill>
                  <a:srgbClr val="4472C4"/>
                </a:solidFill>
              </a:rPr>
              <a:t> </a:t>
            </a:r>
            <a:endParaRPr lang="en-US" sz="800" b="1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22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115962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ar-OM" dirty="0"/>
              <a:t>هذه المسارات و التخصصات هي أحجار أساس المستقبل القادم</a:t>
            </a:r>
          </a:p>
          <a:p>
            <a:endParaRPr lang="ar-OM" dirty="0"/>
          </a:p>
          <a:p>
            <a:r>
              <a:rPr lang="ar-OM" dirty="0"/>
              <a:t>و يتم شرح أهميتها و ما هيتها للطالب</a:t>
            </a:r>
          </a:p>
          <a:p>
            <a:endParaRPr lang="ar-OM" dirty="0"/>
          </a:p>
          <a:p>
            <a:r>
              <a:rPr lang="ar-OM" dirty="0"/>
              <a:t>و للاستفادة أكثر و قراءة دليل المسارات المهنية المستقبلية الموضح بصالوة أسفل رمز الاستجابة  يرجى مسح رمز الاستجابة السريعة </a:t>
            </a:r>
          </a:p>
          <a:p>
            <a:endParaRPr lang="ar-OM" dirty="0"/>
          </a:p>
          <a:p>
            <a:r>
              <a:rPr lang="ar-OM" dirty="0"/>
              <a:t>دخول الطالب و استكشافه للموقع مع قراءة هذا الدليل مهم جدا من أجل تعريفه بالمسارات المهنية المستقبلية</a:t>
            </a:r>
            <a:endParaRPr lang="en-A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b="1" dirty="0">
                <a:solidFill>
                  <a:srgbClr val="4472C4"/>
                </a:solidFill>
              </a:rPr>
              <a:t> </a:t>
            </a:r>
            <a:endParaRPr lang="en-US" sz="800" b="1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23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6722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ar-OM" dirty="0"/>
              <a:t>يتم سؤال الطلبة هذا السؤال 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24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523958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ar-OM" dirty="0"/>
              <a:t>الابتكار الناجح دائما مكون من محورين اساسيين و هما:</a:t>
            </a:r>
          </a:p>
          <a:p>
            <a:endParaRPr lang="ar-OM" dirty="0"/>
          </a:p>
          <a:p>
            <a:r>
              <a:rPr lang="ar-OM" dirty="0"/>
              <a:t>التكنولوجيا و التطبيق العملي</a:t>
            </a:r>
          </a:p>
          <a:p>
            <a:endParaRPr lang="ar-OM" dirty="0"/>
          </a:p>
          <a:p>
            <a:r>
              <a:rPr lang="ar-OM" dirty="0"/>
              <a:t>التكنولوجيا يجب ان تكون ذات قيمة و تحل مشاكل في حياة البشر </a:t>
            </a:r>
          </a:p>
          <a:p>
            <a:r>
              <a:rPr lang="ar-OM" dirty="0"/>
              <a:t>أما التطبيق العملي لها فهو أيضا مهم لجعل هذه التكنولوجيا تصل للسوق و و تطبق عمليا في شتى القطاعات التي يمكن ان تخدم فيها التكنولوجيا البشر</a:t>
            </a:r>
            <a:endParaRPr lang="en-A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b="1" dirty="0">
                <a:solidFill>
                  <a:srgbClr val="4472C4"/>
                </a:solidFill>
              </a:rPr>
              <a:t> </a:t>
            </a:r>
            <a:endParaRPr lang="en-US" sz="800" b="1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25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562265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ar-OM" dirty="0"/>
              <a:t>الآن لنتعرف على المسار المهني الأنسب لك!</a:t>
            </a:r>
          </a:p>
          <a:p>
            <a:endParaRPr lang="ar-OM" dirty="0"/>
          </a:p>
          <a:p>
            <a:r>
              <a:rPr lang="ar-OM" dirty="0"/>
              <a:t>هل انت من صانعي التكنولوجيا ام انت من المطبقين العمليين لهذه التكنولوجيا؟</a:t>
            </a:r>
          </a:p>
          <a:p>
            <a:endParaRPr lang="ar-OM" dirty="0"/>
          </a:p>
          <a:p>
            <a:r>
              <a:rPr lang="ar-OM" dirty="0"/>
              <a:t>اجعلوا الطلاب يقوموا بمسح الرمز و عمل الاختبار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26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479259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ar-OM" dirty="0"/>
              <a:t>هنا يختر الطالب جميع الاجابات التي تعبر عنه و تصفه كاملة</a:t>
            </a:r>
          </a:p>
          <a:p>
            <a:endParaRPr lang="ar-OM" dirty="0"/>
          </a:p>
          <a:p>
            <a:r>
              <a:rPr lang="ar-OM" dirty="0"/>
              <a:t>ثم بعد الانتهاء يرى الطالب ما هو الرقم عموديا صاحب الاعلى اختيارات ( اما 1 او 2 او 3 او 4 او 5 ) و بناء عليه يكتشف اهتمامه </a:t>
            </a:r>
          </a:p>
          <a:p>
            <a:endParaRPr lang="ar-OM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27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631449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28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564956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ar-OM" dirty="0"/>
              <a:t>الآن يرى الطلاب نتائجهم</a:t>
            </a:r>
          </a:p>
          <a:p>
            <a:endParaRPr lang="ar-OM" dirty="0"/>
          </a:p>
          <a:p>
            <a:r>
              <a:rPr lang="ar-OM" dirty="0"/>
              <a:t>من حصل على اجابات عمودية كثيرة للرقم 1 او 2 </a:t>
            </a:r>
          </a:p>
          <a:p>
            <a:endParaRPr lang="ar-OM" dirty="0"/>
          </a:p>
          <a:p>
            <a:r>
              <a:rPr lang="ar-OM" dirty="0"/>
              <a:t>هؤلاء هم صناع التكنولوجيا </a:t>
            </a:r>
          </a:p>
          <a:p>
            <a:endParaRPr lang="ar-OM" dirty="0"/>
          </a:p>
          <a:p>
            <a:r>
              <a:rPr lang="ar-OM" dirty="0"/>
              <a:t>فأما ان يكونوا مهندسين يحبون المشاكل العملية و يطورون لها حلولا او يكونوا باحثين يحبون استكشاف معارف جديدة و صياغة النظريات و كيفية عمل الأشياء</a:t>
            </a:r>
            <a:endParaRPr lang="en-A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b="1" dirty="0">
                <a:solidFill>
                  <a:srgbClr val="4472C4"/>
                </a:solidFill>
              </a:rPr>
              <a:t> </a:t>
            </a:r>
            <a:endParaRPr lang="en-US" sz="800" b="1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29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58235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ar-OM" dirty="0"/>
              <a:t>هنا يتم سؤال الطلاب عن التكنولوجيا التي يفضلونها بصوت عال</a:t>
            </a:r>
          </a:p>
          <a:p>
            <a:r>
              <a:rPr lang="ar-OM" dirty="0"/>
              <a:t>يتم اعطائهم دقيقة للتفكير و حتى مشاركة رأيهم مع زميلهم</a:t>
            </a:r>
          </a:p>
          <a:p>
            <a:r>
              <a:rPr lang="ar-OM" dirty="0"/>
              <a:t>ثم يتم أخذ الاجابات بصوت عال من قبلهم</a:t>
            </a:r>
            <a:endParaRPr lang="en-A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b="1" dirty="0">
                <a:solidFill>
                  <a:srgbClr val="4472C4"/>
                </a:solidFill>
              </a:rPr>
              <a:t> </a:t>
            </a:r>
            <a:endParaRPr lang="en-US" sz="800" b="1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3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947303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ar-OM" dirty="0"/>
              <a:t>الآن يرى الطلاب نتائجهم</a:t>
            </a:r>
          </a:p>
          <a:p>
            <a:endParaRPr lang="ar-OM" dirty="0"/>
          </a:p>
          <a:p>
            <a:r>
              <a:rPr lang="ar-OM" dirty="0"/>
              <a:t>من حصل على اجابات عمودية كثيرة للرقم 3 او 4 او 5 </a:t>
            </a:r>
          </a:p>
          <a:p>
            <a:endParaRPr lang="ar-OM" dirty="0"/>
          </a:p>
          <a:p>
            <a:r>
              <a:rPr lang="ar-OM" dirty="0"/>
              <a:t>هؤلاذ هم المطبقون العمليون للتكنولوجيا في مجالاتهم المتنوعة</a:t>
            </a:r>
          </a:p>
          <a:p>
            <a:endParaRPr lang="ar-OM" dirty="0"/>
          </a:p>
          <a:p>
            <a:r>
              <a:rPr lang="ar-OM" dirty="0"/>
              <a:t>قد يكونوا خبراء للبيانات فيطبقون التكنولوجيا في عمليات تحليل البيانات</a:t>
            </a:r>
          </a:p>
          <a:p>
            <a:r>
              <a:rPr lang="ar-OM" dirty="0"/>
              <a:t>او قد يكونوا مبدعين فيتخذوا التكنولوجيا كأداة لصنع المحتوى المفيد و وسيلة للابداع و نشر الخير</a:t>
            </a:r>
          </a:p>
          <a:p>
            <a:r>
              <a:rPr lang="ar-OM" dirty="0"/>
              <a:t>و اخيرا قد يكونوا قادة يحبون قيادة الناس و المؤسسات و يستعملون التكنولوجيا في رفع جودة مجالاتهم و صناعاتهم</a:t>
            </a:r>
          </a:p>
          <a:p>
            <a:endParaRPr lang="ar-OM" dirty="0"/>
          </a:p>
          <a:p>
            <a:r>
              <a:rPr lang="ar-OM" dirty="0"/>
              <a:t>" على الطالب ان يعي انه يستطيع ان يكون مهندسا و ثم يتدرج في المناصب ليصبح قائدا في مجاله فنحن نشجع على المرونة في التخصصات و تطوير شتى المهارات المتنوعة و اللازمة للمستقبل</a:t>
            </a:r>
          </a:p>
          <a:p>
            <a:endParaRPr lang="en-A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b="1" dirty="0">
                <a:solidFill>
                  <a:srgbClr val="4472C4"/>
                </a:solidFill>
              </a:rPr>
              <a:t> </a:t>
            </a:r>
            <a:endParaRPr lang="en-US" sz="800" b="1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30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62808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ar-OM" dirty="0"/>
              <a:t>الشريحة موضحة</a:t>
            </a:r>
            <a:endParaRPr lang="en-A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b="1" dirty="0">
                <a:solidFill>
                  <a:srgbClr val="4472C4"/>
                </a:solidFill>
              </a:rPr>
              <a:t> </a:t>
            </a:r>
            <a:endParaRPr lang="en-US" sz="800" b="1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31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500153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r" defTabSz="415869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OM" dirty="0"/>
              <a:t>الشريحة موضحة</a:t>
            </a:r>
            <a:endParaRPr lang="en-AE" dirty="0"/>
          </a:p>
          <a:p>
            <a:endParaRPr lang="en-A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b="1" dirty="0">
                <a:solidFill>
                  <a:srgbClr val="4472C4"/>
                </a:solidFill>
              </a:rPr>
              <a:t> </a:t>
            </a:r>
            <a:endParaRPr lang="en-US" sz="800" b="1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32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61696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ar-OM" dirty="0"/>
              <a:t>يجب على الطلاب ان يمل الستمارة </a:t>
            </a:r>
            <a:r>
              <a:rPr lang="en-US" dirty="0"/>
              <a:t>form </a:t>
            </a:r>
            <a:r>
              <a:rPr lang="ar-OM" dirty="0"/>
              <a:t> فنحن جدا مهتمين بنتائجهم و آرائهم عن البرنامج و هذا سيساعدنا على تحسينه و تطويره 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33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370795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r" defTabSz="415869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OM" dirty="0"/>
              <a:t>حثوا الطلاب من فضلكم على الدخول الى موقعنا للاستفادة من: </a:t>
            </a:r>
            <a:r>
              <a:rPr lang="en-US" sz="800" b="1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atrc.gov.ae/ffcp/</a:t>
            </a:r>
            <a:endParaRPr lang="ar-OM" dirty="0"/>
          </a:p>
          <a:p>
            <a:endParaRPr lang="ar-OM" dirty="0"/>
          </a:p>
          <a:p>
            <a:r>
              <a:rPr lang="ar-OM" dirty="0"/>
              <a:t>1- دليل المهن المستقبلية الشامل </a:t>
            </a:r>
          </a:p>
          <a:p>
            <a:endParaRPr lang="ar-OM" dirty="0"/>
          </a:p>
          <a:p>
            <a:r>
              <a:rPr lang="ar-OM" dirty="0"/>
              <a:t>2- اختبار المهن المستقبلية</a:t>
            </a:r>
          </a:p>
          <a:p>
            <a:endParaRPr lang="ar-OM" dirty="0"/>
          </a:p>
          <a:p>
            <a:r>
              <a:rPr lang="ar-OM" dirty="0"/>
              <a:t>3- لقائات مصورة مع باحثينا عن عملهم اليومي في قطاع التكنولوجيا التطبيقية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34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049105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ar-OM" dirty="0"/>
              <a:t>في نهاية المحاضرة نرجوا من حضراتكم الأفاضل التنويه على أن بناة المستقبل يجب أن يتمتعوا ليس فقط بالمعارف التقنية و المهارات العملية بل بالمبادئ و الركائز الأخلاقية الرصينة التي تكتنف العلم و تبني الأمم. مع التنويه كذلك على أهمية مهارات التعاون مع الزملاء من جميع الثقافات و الخطابة و الالقاء و كذلك الكتابة الاحترافية فجميع هذه المهارات لا تقل أهمية أبدا عن المهارات التقنية و يجب العناية بها</a:t>
            </a:r>
            <a:endParaRPr lang="en-A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b="1" dirty="0">
                <a:solidFill>
                  <a:srgbClr val="4472C4"/>
                </a:solidFill>
              </a:rPr>
              <a:t> </a:t>
            </a:r>
            <a:endParaRPr lang="en-US" sz="800" b="1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35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819545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36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9504361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415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15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7AA25B-A303-0241-9E08-01213653BA01}" type="slidenum">
              <a:rPr kumimoji="0" lang="en-A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158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A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01393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537123-19BB-B6C5-9B0B-2460446C08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084F91-FE99-CD43-1E8A-3A8BCF4892A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2F8DBF0-DF05-9D07-8A23-11AF8E7EF9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r" defTabSz="415869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OM" sz="546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هنا أيضا يطلب من الطالب أن يتوقع الحقبة الزمنية الآتية مثل الأمثلة السابقة</a:t>
            </a:r>
          </a:p>
          <a:p>
            <a:pPr marL="0" marR="0" lvl="0" indent="0" algn="r" defTabSz="415869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ar-OM" sz="546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r" defTabSz="415869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OM" sz="546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كذلك يتم اخبارهم بأن العصور التكنولوجية متلاحقة و معتمدة على بعضها البعض فمثلا:</a:t>
            </a:r>
          </a:p>
          <a:p>
            <a:pPr marL="0" marR="0" lvl="0" indent="0" algn="r" defTabSz="415869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OM" sz="546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بسبب اكتشتف الكهرباء كان لدينا حجر الأساس للعصر الرقمي و أجهزته و الآن بسبب هذه الأجهزة لدينا حجر الأساس للعصر التكنولوجي الادم و هو...... و هنا يحاول التوقع الطالب و ثم يتم الاجابة و هو عصر الذكاء الاصطناعي</a:t>
            </a:r>
          </a:p>
          <a:p>
            <a:pPr marL="0" marR="0" lvl="0" indent="0" algn="r" defTabSz="415869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ar-OM" sz="546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r" defTabSz="415869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OM" sz="546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مثاله شات جي بي تي مع أ، الذكاء الاصطناعي كان موجودا قديما لكنه وصل لذروته و تطور الآن في الفترة الأخيرة</a:t>
            </a:r>
            <a:endParaRPr lang="en-AE" dirty="0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27C50A24-C928-5868-EBE9-266F085699E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487527-D029-EE8F-2D39-E7173C4D1712}"/>
              </a:ext>
            </a:extLst>
          </p:cNvPr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b="1" dirty="0">
                <a:solidFill>
                  <a:srgbClr val="4472C4"/>
                </a:solidFill>
              </a:rPr>
              <a:t> </a:t>
            </a:r>
            <a:endParaRPr lang="en-US" sz="800" b="1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54979F-540C-2980-40A3-299ABD9383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4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59411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r" defTabSz="415869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OM" sz="546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هنا أيضا يطلب من الطالب أن يتوقع الحقبة الزمنية الآتية مثل الأمثلة السابقة</a:t>
            </a:r>
          </a:p>
          <a:p>
            <a:pPr marL="0" marR="0" lvl="0" indent="0" algn="r" defTabSz="415869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ar-OM" sz="546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r" defTabSz="415869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OM" sz="546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كذلك يتم اخبارهم بأن العصور التكنولوجية متلاحقة و معتمدة على بعضها البعض فمثلا:</a:t>
            </a:r>
          </a:p>
          <a:p>
            <a:pPr marL="0" marR="0" lvl="0" indent="0" algn="r" defTabSz="415869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OM" sz="546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بسبب اكتشتف الكهرباء كان لدينا حجر الأساس للعصر الرقمي و أجهزته و الآن بسبب هذه الأجهزة لدينا حجر الأساس للعصر التكنولوجي الادم و هو...... و هنا يحاول التوقع الطالب و ثم يتم الاجابة و هو عصر الذكاء الاصطناعي</a:t>
            </a:r>
          </a:p>
          <a:p>
            <a:pPr marL="0" marR="0" lvl="0" indent="0" algn="r" defTabSz="415869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ar-OM" sz="546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r" defTabSz="415869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OM" sz="546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مثاله شات جي بي تي مع أ، الذكاء الاصطناعي كان موجودا قديما لكنه وصل لذروته و تطور الآن في الفترة الأخيرة</a:t>
            </a:r>
            <a:endParaRPr lang="en-A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b="1" dirty="0">
                <a:solidFill>
                  <a:srgbClr val="4472C4"/>
                </a:solidFill>
              </a:rPr>
              <a:t> </a:t>
            </a:r>
            <a:endParaRPr lang="en-US" sz="800" b="1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5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46855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ar-OM" dirty="0"/>
              <a:t>الشريحة موضحة</a:t>
            </a:r>
            <a:endParaRPr lang="en-A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b="1" dirty="0">
                <a:solidFill>
                  <a:srgbClr val="4472C4"/>
                </a:solidFill>
              </a:rPr>
              <a:t> </a:t>
            </a:r>
            <a:endParaRPr lang="en-US" sz="800" b="1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6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78406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ar-OM" dirty="0"/>
              <a:t>يتم شرح للطالب أثر التكنولوجيا في طريقة العيش و التعلم و العمل مع أمثلة عليها و على أثرها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7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6515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r" defTabSz="415869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OM" dirty="0"/>
              <a:t>الشريحة موضحة</a:t>
            </a:r>
            <a:endParaRPr lang="en-AE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8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11836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ar-OM" dirty="0"/>
              <a:t>هنا يطلب من الطلاب أن يتوقعوا من خلال الصور الآتية نوع التكنولوجيا الموضحة و أن يجاوبوا بصوت عال (تحدي تفاعلي آخر)</a:t>
            </a:r>
            <a:endParaRPr lang="en-A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AE">
              <a:latin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b="1" dirty="0">
                <a:solidFill>
                  <a:srgbClr val="4472C4"/>
                </a:solidFill>
              </a:rPr>
              <a:t> </a:t>
            </a:r>
            <a:endParaRPr lang="en-US" sz="800" b="1" dirty="0">
              <a:solidFill>
                <a:srgbClr val="0000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7AA25B-A303-0241-9E08-01213653BA01}" type="slidenum">
              <a:rPr lang="en-AE" smtClean="0">
                <a:latin typeface="Arial" panose="020B0604020202020204" pitchFamily="34" charset="0"/>
              </a:rPr>
              <a:t>9</a:t>
            </a:fld>
            <a:endParaRPr lang="en-A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27918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9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10">
            <a:extLst>
              <a:ext uri="{FF2B5EF4-FFF2-40B4-BE49-F238E27FC236}">
                <a16:creationId xmlns:a16="http://schemas.microsoft.com/office/drawing/2014/main" id="{58DF4AF6-EE2E-CD1F-4066-CE9894B667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200354" cy="51435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D3A09CF-166D-9444-CC95-1ED6C75F2EE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200354" cy="51435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C1258D1-2164-43AD-5711-02679A6DB5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200354" cy="51435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58997FF-3E59-4473-F92C-41E69DA278C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077" y="373744"/>
            <a:ext cx="2029522" cy="759246"/>
          </a:xfrm>
          <a:prstGeom prst="rect">
            <a:avLst/>
          </a:prstGeom>
        </p:spPr>
      </p:pic>
      <p:sp>
        <p:nvSpPr>
          <p:cNvPr id="9" name="object 37">
            <a:extLst>
              <a:ext uri="{FF2B5EF4-FFF2-40B4-BE49-F238E27FC236}">
                <a16:creationId xmlns:a16="http://schemas.microsoft.com/office/drawing/2014/main" id="{522CF3EC-B14B-45F9-1E2A-BA9685A56935}"/>
              </a:ext>
            </a:extLst>
          </p:cNvPr>
          <p:cNvSpPr txBox="1"/>
          <p:nvPr userDrawn="1"/>
        </p:nvSpPr>
        <p:spPr>
          <a:xfrm>
            <a:off x="7183120" y="4793717"/>
            <a:ext cx="1601969" cy="1801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6" algn="r">
              <a:lnSpc>
                <a:spcPts val="1616"/>
              </a:lnSpc>
            </a:pPr>
            <a:r>
              <a:rPr lang="en-GB" sz="700" spc="5" dirty="0">
                <a:solidFill>
                  <a:schemeClr val="bg1"/>
                </a:solidFill>
                <a:latin typeface="Arial"/>
                <a:cs typeface="Arial"/>
              </a:rPr>
              <a:t>atrc.gov.ae</a:t>
            </a:r>
            <a:endParaRPr lang="en-GB" sz="7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487D7B8-3C9D-98C4-9171-9CEBA52469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8077" y="2034435"/>
            <a:ext cx="7498484" cy="9144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kern="0" dirty="0" smtClean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US" sz="819" kern="1200" dirty="0" smtClean="0">
                <a:solidFill>
                  <a:schemeClr val="tx1"/>
                </a:solidFill>
              </a:defRPr>
            </a:lvl2pPr>
            <a:lvl3pPr>
              <a:defRPr lang="en-US" sz="819" kern="1200" dirty="0" smtClean="0">
                <a:solidFill>
                  <a:schemeClr val="tx1"/>
                </a:solidFill>
              </a:defRPr>
            </a:lvl3pPr>
            <a:lvl4pPr>
              <a:defRPr lang="en-US" sz="819" kern="1200" dirty="0" smtClean="0">
                <a:solidFill>
                  <a:schemeClr val="tx1"/>
                </a:solidFill>
              </a:defRPr>
            </a:lvl4pPr>
            <a:lvl5pPr>
              <a:defRPr lang="en-AU" sz="819" kern="1200" dirty="0">
                <a:solidFill>
                  <a:schemeClr val="tx1"/>
                </a:solidFill>
              </a:defRPr>
            </a:lvl5pPr>
          </a:lstStyle>
          <a:p>
            <a:pPr marL="12700" defTabSz="914400">
              <a:spcBef>
                <a:spcPts val="215"/>
              </a:spcBef>
            </a:pPr>
            <a:r>
              <a:rPr lang="en-US" sz="2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ti-line main</a:t>
            </a:r>
            <a:br>
              <a:rPr lang="en-US" sz="2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"/>
              </a:rPr>
              <a:t>Headlin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161B87A-47E5-031D-62FC-85A5871AC4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077" y="3122639"/>
            <a:ext cx="7498484" cy="492125"/>
          </a:xfrm>
          <a:prstGeom prst="rect">
            <a:avLst/>
          </a:prstGeom>
        </p:spPr>
        <p:txBody>
          <a:bodyPr lIns="0"/>
          <a:lstStyle>
            <a:lvl1pPr rtl="1">
              <a:defRPr kumimoji="0" lang="en-US" sz="1400" b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Multi-line Secondary </a:t>
            </a:r>
            <a:br>
              <a:rPr lang="en-US" dirty="0"/>
            </a:br>
            <a:r>
              <a:rPr lang="en-US" dirty="0"/>
              <a:t>Headlin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519429C-71DD-CF3A-ACB1-A75CBAE67E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8077" y="3864131"/>
            <a:ext cx="3598436" cy="211240"/>
          </a:xfrm>
          <a:prstGeom prst="rect">
            <a:avLst/>
          </a:prstGeom>
        </p:spPr>
        <p:txBody>
          <a:bodyPr lIns="0"/>
          <a:lstStyle>
            <a:lvl1pPr marL="0" marR="0" indent="0" algn="r" defTabSz="2438337" rtl="1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900" b="1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0" marR="0" indent="0" algn="r" defTabSz="2438337" rtl="1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900" b="1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 marL="0" marR="0" indent="0" algn="r" defTabSz="2438337" rtl="1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900" b="1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 marL="0" marR="0" indent="0" algn="r" defTabSz="2438337" rtl="1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900" b="1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 marL="0" marR="0" indent="0" algn="r" defTabSz="2438337" rtl="1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AU" sz="900" b="1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Month YYYY</a:t>
            </a:r>
            <a:endParaRPr lang="en-AU" dirty="0"/>
          </a:p>
        </p:txBody>
      </p:sp>
      <p:sp>
        <p:nvSpPr>
          <p:cNvPr id="19" name="Line">
            <a:extLst>
              <a:ext uri="{FF2B5EF4-FFF2-40B4-BE49-F238E27FC236}">
                <a16:creationId xmlns:a16="http://schemas.microsoft.com/office/drawing/2014/main" id="{D5BF4CD4-8E47-5572-A96B-93EF89AB7264}"/>
              </a:ext>
            </a:extLst>
          </p:cNvPr>
          <p:cNvSpPr/>
          <p:nvPr userDrawn="1"/>
        </p:nvSpPr>
        <p:spPr>
          <a:xfrm>
            <a:off x="358774" y="1895970"/>
            <a:ext cx="8353426" cy="0"/>
          </a:xfrm>
          <a:prstGeom prst="line">
            <a:avLst/>
          </a:prstGeom>
          <a:ln w="12700">
            <a:solidFill>
              <a:schemeClr val="bg1"/>
            </a:solidFill>
            <a:miter lim="400000"/>
          </a:ln>
        </p:spPr>
        <p:txBody>
          <a:bodyPr lIns="45718" tIns="45718" rIns="45718" bIns="45718"/>
          <a:lstStyle/>
          <a:p>
            <a:endParaRPr lang="en-AE">
              <a:latin typeface="Helvetica LT Pro" panose="020B0504020202020204" pitchFamily="34" charset="0"/>
            </a:endParaRPr>
          </a:p>
        </p:txBody>
      </p:sp>
      <p:sp>
        <p:nvSpPr>
          <p:cNvPr id="20" name="Line">
            <a:extLst>
              <a:ext uri="{FF2B5EF4-FFF2-40B4-BE49-F238E27FC236}">
                <a16:creationId xmlns:a16="http://schemas.microsoft.com/office/drawing/2014/main" id="{7DFC97CB-BC4B-54EC-082E-93C2375CB8EB}"/>
              </a:ext>
            </a:extLst>
          </p:cNvPr>
          <p:cNvSpPr/>
          <p:nvPr userDrawn="1"/>
        </p:nvSpPr>
        <p:spPr>
          <a:xfrm>
            <a:off x="358774" y="3744964"/>
            <a:ext cx="8353426" cy="0"/>
          </a:xfrm>
          <a:prstGeom prst="line">
            <a:avLst/>
          </a:prstGeom>
          <a:ln w="12700">
            <a:solidFill>
              <a:schemeClr val="bg1"/>
            </a:solidFill>
            <a:miter lim="400000"/>
          </a:ln>
        </p:spPr>
        <p:txBody>
          <a:bodyPr lIns="45718" tIns="45718" rIns="45718" bIns="45718"/>
          <a:lstStyle/>
          <a:p>
            <a:endParaRPr lang="en-AE">
              <a:latin typeface="Helvetica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2364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78F77354-B99A-6AE7-D9B5-24A115C847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03279"/>
            <a:ext cx="9144000" cy="315721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AC6CB34-72B2-A59C-F1D9-B78DE2388626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E68B6CC-B4A1-A03B-A3E9-E9F4C29CE6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497056E-E7B2-5F1F-77DA-E4D0F3BCAE9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1B7194E1-1E29-FB20-49E5-C7E58819D7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BD28CBB-DAD7-60D7-4730-C613DEEE428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65047" y="1009651"/>
            <a:ext cx="2675331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9944CE8-57FC-C28A-5E3D-9DFE719E571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229534" y="1009651"/>
            <a:ext cx="2675331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79F87BC-6761-709F-085A-1D095F877D4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119420" y="1009651"/>
            <a:ext cx="2674952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0D24730-D405-2D74-CD98-B828A667DEE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5049" y="1342320"/>
            <a:ext cx="2675331" cy="3210629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D84E56A-38B4-4DCF-6754-45F636E3091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229534" y="1342320"/>
            <a:ext cx="2675331" cy="3210629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82A5DCFA-DFCD-335A-E8FE-0C8EDE596F1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119420" y="1342320"/>
            <a:ext cx="2675331" cy="3210629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60494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urple and blue waves&#10;&#10;Description automatically generated">
            <a:extLst>
              <a:ext uri="{FF2B5EF4-FFF2-40B4-BE49-F238E27FC236}">
                <a16:creationId xmlns:a16="http://schemas.microsoft.com/office/drawing/2014/main" id="{EA42E5A6-CA96-48F6-D08E-3AB3252CF1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03278"/>
            <a:ext cx="9144000" cy="315721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AC6CB34-72B2-A59C-F1D9-B78DE2388626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E68B6CC-B4A1-A03B-A3E9-E9F4C29CE6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497056E-E7B2-5F1F-77DA-E4D0F3BCAE9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1B7194E1-1E29-FB20-49E5-C7E58819D7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BD28CBB-DAD7-60D7-4730-C613DEEE428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65047" y="1009651"/>
            <a:ext cx="2675331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9944CE8-57FC-C28A-5E3D-9DFE719E571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229534" y="1009651"/>
            <a:ext cx="2675331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79F87BC-6761-709F-085A-1D095F877D4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119420" y="1009651"/>
            <a:ext cx="2674952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0D24730-D405-2D74-CD98-B828A667DEE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5049" y="1342320"/>
            <a:ext cx="2675331" cy="3210629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D84E56A-38B4-4DCF-6754-45F636E3091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229534" y="1342320"/>
            <a:ext cx="2675331" cy="3210629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82A5DCFA-DFCD-335A-E8FE-0C8EDE596F1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119420" y="1342320"/>
            <a:ext cx="2675331" cy="3210629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434914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6C669DC-674D-8D3B-8007-239A6AF5B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03279"/>
            <a:ext cx="9144000" cy="3157211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941F3B54-359E-2B32-FAA1-E5035C2E6F3B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BB28948A-3A30-DAAA-9987-45A22C793F1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4591" y="1342322"/>
            <a:ext cx="1981911" cy="321062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r">
              <a:buNone/>
              <a:defRPr sz="1000"/>
            </a:lvl1pPr>
            <a:lvl2pPr marL="457200" indent="0" algn="r">
              <a:buNone/>
              <a:defRPr sz="1000"/>
            </a:lvl2pPr>
            <a:lvl3pPr marL="914400" indent="0" algn="r">
              <a:buNone/>
              <a:defRPr sz="1000"/>
            </a:lvl3pPr>
            <a:lvl4pPr marL="1371600" indent="0" algn="r">
              <a:buNone/>
              <a:defRPr sz="1000"/>
            </a:lvl4pPr>
            <a:lvl5pPr marL="1828800" indent="0" algn="r">
              <a:buNone/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59860C5-2592-EAB9-8853-34E1E7E69CC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514007" y="1342322"/>
            <a:ext cx="1981911" cy="321062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r">
              <a:buNone/>
              <a:defRPr sz="1000"/>
            </a:lvl1pPr>
            <a:lvl2pPr marL="457200" indent="0" algn="r">
              <a:buNone/>
              <a:defRPr sz="1000"/>
            </a:lvl2pPr>
            <a:lvl3pPr marL="914400" indent="0" algn="r">
              <a:buNone/>
              <a:defRPr sz="1000"/>
            </a:lvl3pPr>
            <a:lvl4pPr marL="1371600" indent="0" algn="r">
              <a:buNone/>
              <a:defRPr sz="1000"/>
            </a:lvl4pPr>
            <a:lvl5pPr marL="1828800" indent="0" algn="r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F5A0837-D320-A897-2E0A-2265469A5B9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663423" y="1342322"/>
            <a:ext cx="1981911" cy="321062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r">
              <a:buNone/>
              <a:defRPr sz="1000"/>
            </a:lvl1pPr>
            <a:lvl2pPr marL="457200" indent="0" algn="r">
              <a:buNone/>
              <a:defRPr sz="1000"/>
            </a:lvl2pPr>
            <a:lvl3pPr marL="914400" indent="0" algn="r">
              <a:buNone/>
              <a:defRPr sz="1000"/>
            </a:lvl3pPr>
            <a:lvl4pPr marL="1371600" indent="0" algn="r">
              <a:buNone/>
              <a:defRPr sz="1000"/>
            </a:lvl4pPr>
            <a:lvl5pPr marL="1828800" indent="0" algn="r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07E7520-5B3F-DE10-4FA2-B2879465B24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812840" y="1342322"/>
            <a:ext cx="1981911" cy="321062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r">
              <a:buNone/>
              <a:defRPr sz="1000"/>
            </a:lvl1pPr>
            <a:lvl2pPr marL="457200" indent="0" algn="r">
              <a:buNone/>
              <a:defRPr sz="1000"/>
            </a:lvl2pPr>
            <a:lvl3pPr marL="914400" indent="0" algn="r">
              <a:buNone/>
              <a:defRPr sz="1000"/>
            </a:lvl3pPr>
            <a:lvl4pPr marL="1371600" indent="0" algn="r">
              <a:buNone/>
              <a:defRPr sz="1000"/>
            </a:lvl4pPr>
            <a:lvl5pPr marL="1828800" indent="0" algn="r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9228984-1B87-7DE6-0DC6-211D47638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C705BEC-35E7-982C-E8AE-24E6096B1CF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C6599DA-1265-B4B4-B9B4-D74BB96A93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A3568E0-1596-4CD8-6FC1-412DE62ECC0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65047" y="1009651"/>
            <a:ext cx="1981455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7BF764D8-8388-D3EA-4831-EAE4BAE7AE2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514669" y="1009651"/>
            <a:ext cx="1981455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9451458-211D-6BB3-5F7E-0501798BA3A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58429" y="1009651"/>
            <a:ext cx="1981455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570473C1-DCF7-F44A-2CDD-ABDD07A2E5D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07269" y="1009651"/>
            <a:ext cx="1981455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741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86" userDrawn="1">
          <p15:clr>
            <a:srgbClr val="FBAE40"/>
          </p15:clr>
        </p15:guide>
        <p15:guide id="2" pos="2980" userDrawn="1">
          <p15:clr>
            <a:srgbClr val="FBAE40"/>
          </p15:clr>
        </p15:guide>
        <p15:guide id="3" pos="308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urple and blue waves&#10;&#10;Description automatically generated">
            <a:extLst>
              <a:ext uri="{FF2B5EF4-FFF2-40B4-BE49-F238E27FC236}">
                <a16:creationId xmlns:a16="http://schemas.microsoft.com/office/drawing/2014/main" id="{75959077-5B69-2566-B456-5E2F63DB77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03278"/>
            <a:ext cx="9144000" cy="315721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941F3B54-359E-2B32-FAA1-E5035C2E6F3B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BB28948A-3A30-DAAA-9987-45A22C793F1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4591" y="1342322"/>
            <a:ext cx="1981911" cy="321062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r">
              <a:buNone/>
              <a:defRPr sz="1000"/>
            </a:lvl1pPr>
            <a:lvl2pPr marL="457200" indent="0" algn="r">
              <a:buNone/>
              <a:defRPr sz="1000"/>
            </a:lvl2pPr>
            <a:lvl3pPr marL="914400" indent="0" algn="r">
              <a:buNone/>
              <a:defRPr sz="1000"/>
            </a:lvl3pPr>
            <a:lvl4pPr marL="1371600" indent="0" algn="r">
              <a:buNone/>
              <a:defRPr sz="1000"/>
            </a:lvl4pPr>
            <a:lvl5pPr marL="1828800" indent="0" algn="r">
              <a:buNone/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59860C5-2592-EAB9-8853-34E1E7E69CC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514007" y="1342322"/>
            <a:ext cx="1981911" cy="321062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r">
              <a:buNone/>
              <a:defRPr sz="1000"/>
            </a:lvl1pPr>
            <a:lvl2pPr marL="457200" indent="0" algn="r">
              <a:buNone/>
              <a:defRPr sz="1000"/>
            </a:lvl2pPr>
            <a:lvl3pPr marL="914400" indent="0" algn="r">
              <a:buNone/>
              <a:defRPr sz="1000"/>
            </a:lvl3pPr>
            <a:lvl4pPr marL="1371600" indent="0" algn="r">
              <a:buNone/>
              <a:defRPr sz="1000"/>
            </a:lvl4pPr>
            <a:lvl5pPr marL="1828800" indent="0" algn="r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F5A0837-D320-A897-2E0A-2265469A5B9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663423" y="1342322"/>
            <a:ext cx="1981911" cy="321062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r">
              <a:buNone/>
              <a:defRPr sz="1000"/>
            </a:lvl1pPr>
            <a:lvl2pPr marL="457200" indent="0" algn="r">
              <a:buNone/>
              <a:defRPr sz="1000"/>
            </a:lvl2pPr>
            <a:lvl3pPr marL="914400" indent="0" algn="r">
              <a:buNone/>
              <a:defRPr sz="1000"/>
            </a:lvl3pPr>
            <a:lvl4pPr marL="1371600" indent="0" algn="r">
              <a:buNone/>
              <a:defRPr sz="1000"/>
            </a:lvl4pPr>
            <a:lvl5pPr marL="1828800" indent="0" algn="r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07E7520-5B3F-DE10-4FA2-B2879465B24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812840" y="1342322"/>
            <a:ext cx="1981911" cy="321062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r">
              <a:buNone/>
              <a:defRPr sz="1000"/>
            </a:lvl1pPr>
            <a:lvl2pPr marL="457200" indent="0" algn="r">
              <a:buNone/>
              <a:defRPr sz="1000"/>
            </a:lvl2pPr>
            <a:lvl3pPr marL="914400" indent="0" algn="r">
              <a:buNone/>
              <a:defRPr sz="1000"/>
            </a:lvl3pPr>
            <a:lvl4pPr marL="1371600" indent="0" algn="r">
              <a:buNone/>
              <a:defRPr sz="1000"/>
            </a:lvl4pPr>
            <a:lvl5pPr marL="1828800" indent="0" algn="r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9228984-1B87-7DE6-0DC6-211D47638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C705BEC-35E7-982C-E8AE-24E6096B1CF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C6599DA-1265-B4B4-B9B4-D74BB96A93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A3568E0-1596-4CD8-6FC1-412DE62ECC0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65047" y="1009651"/>
            <a:ext cx="1981455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7BF764D8-8388-D3EA-4831-EAE4BAE7AE2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514669" y="1009651"/>
            <a:ext cx="1981455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9451458-211D-6BB3-5F7E-0501798BA3A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58429" y="1009651"/>
            <a:ext cx="1981455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570473C1-DCF7-F44A-2CDD-ABDD07A2E5D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07269" y="1009651"/>
            <a:ext cx="1981455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87512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86" userDrawn="1">
          <p15:clr>
            <a:srgbClr val="FBAE40"/>
          </p15:clr>
        </p15:guide>
        <p15:guide id="2" pos="2980" userDrawn="1">
          <p15:clr>
            <a:srgbClr val="FBAE40"/>
          </p15:clr>
        </p15:guide>
        <p15:guide id="3" pos="308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x1 + Content 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FB65CFE-0B67-2533-647D-216940EFCE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79514"/>
            <a:ext cx="9144000" cy="315721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0E09997F-95B0-A63A-8EB1-6BFE16E93F40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C2CEA99-829E-FD47-A2BD-8C1D622245B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64591" y="1009650"/>
            <a:ext cx="8429781" cy="186878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lnSpc>
                <a:spcPct val="100000"/>
              </a:lnSpc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edit Master text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B097C9F-F869-3F01-CEB3-164DD7B015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4591" y="1337766"/>
            <a:ext cx="8429781" cy="3215185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9166AF49-E362-7AA4-5204-3F01326F8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C96EE21-241E-ADBA-A344-36D0B69A90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31C22B-CD52-E342-0D2B-576C326821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2400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x1 + Content 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urple and blue waves&#10;&#10;Description automatically generated">
            <a:extLst>
              <a:ext uri="{FF2B5EF4-FFF2-40B4-BE49-F238E27FC236}">
                <a16:creationId xmlns:a16="http://schemas.microsoft.com/office/drawing/2014/main" id="{B7CA29FF-8219-3E6D-39F5-1E9045D687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03280"/>
            <a:ext cx="9144000" cy="315721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EB0FA2E-4247-5CAD-F67C-4B3B998E2781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C2CEA99-829E-FD47-A2BD-8C1D622245B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64591" y="1009650"/>
            <a:ext cx="8429781" cy="186878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lnSpc>
                <a:spcPct val="100000"/>
              </a:lnSpc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9166AF49-E362-7AA4-5204-3F01326F8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C96EE21-241E-ADBA-A344-36D0B69A90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5E1D00-E626-82C0-4836-A62BB286A0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BBDD4DF3-75D8-A480-8255-88FFD0BB2C9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4591" y="1337766"/>
            <a:ext cx="8429781" cy="3215185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682865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x2 + Content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5827410-7950-724A-2298-839050C371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02548"/>
            <a:ext cx="9144000" cy="315721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07981DD-5B50-4BE2-5980-CFA7DCC29D7E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E058C108-8786-AE26-7283-CC31501B508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5048" y="1337766"/>
            <a:ext cx="4086000" cy="3215181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78C11B0-8DFB-AFD4-964F-595253243FB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708751" y="1337766"/>
            <a:ext cx="4086000" cy="3215181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83BB4E9-5574-3AB2-1102-CC83A986D54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65049" y="1009650"/>
            <a:ext cx="4086000" cy="186878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lnSpc>
                <a:spcPct val="100000"/>
              </a:lnSpc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edit Master tex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ABE9937-A89F-68EA-30F3-A65FDDE1A6C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08037" y="1009650"/>
            <a:ext cx="4086000" cy="186878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lnSpc>
                <a:spcPct val="100000"/>
              </a:lnSpc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EA24416C-F45F-68E7-34A6-5BBC6F07D2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236E20EC-B998-3F74-DEC9-DD1D9FD948E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2AC15D7-3EBF-2D1C-F71C-B2EE750A4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94486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x2 + Content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urple and blue waves&#10;&#10;Description automatically generated">
            <a:extLst>
              <a:ext uri="{FF2B5EF4-FFF2-40B4-BE49-F238E27FC236}">
                <a16:creationId xmlns:a16="http://schemas.microsoft.com/office/drawing/2014/main" id="{CDFB6842-41B5-6FF2-2895-769AFFE8EE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93144"/>
            <a:ext cx="9144000" cy="315721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854D0E5-44E3-DDE1-F7B5-82EE8F5349A2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83BB4E9-5574-3AB2-1102-CC83A986D54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65049" y="1009650"/>
            <a:ext cx="4086000" cy="186878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lnSpc>
                <a:spcPct val="100000"/>
              </a:lnSpc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edit Master text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EA24416C-F45F-68E7-34A6-5BBC6F07D2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236E20EC-B998-3F74-DEC9-DD1D9FD948E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ABE9937-A89F-68EA-30F3-A65FDDE1A6C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08037" y="1009650"/>
            <a:ext cx="4086000" cy="186878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lnSpc>
                <a:spcPct val="100000"/>
              </a:lnSpc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</a:t>
            </a: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BF2A995F-FA92-84D8-B7DF-F85FF933C2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D21C3D2-C3F3-BE88-263A-18682901C76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5048" y="1337766"/>
            <a:ext cx="4086000" cy="3215181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4B0D2DE-F7E1-20CD-A659-833A84ECA8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708751" y="1337766"/>
            <a:ext cx="4086000" cy="3215181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522105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39760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C967838E-C514-2402-E9ED-1D40FD696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5AE8A31-D129-30FD-B7DD-644E15F82EF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369B62F-60A5-1F97-BC78-5A783FA11880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471E97A-C30F-15D0-EAAE-DC672DADC3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6550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 1">
    <p:bg>
      <p:bgPr>
        <a:solidFill>
          <a:srgbClr val="2537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0">
            <a:extLst>
              <a:ext uri="{FF2B5EF4-FFF2-40B4-BE49-F238E27FC236}">
                <a16:creationId xmlns:a16="http://schemas.microsoft.com/office/drawing/2014/main" id="{EEA351DA-774C-DB8B-E1FB-C556D0810B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0598" cy="5143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68F2765-D316-8005-E412-AFE2D9443CE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03" y="0"/>
            <a:ext cx="9140597" cy="51435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A84FD64-497A-DBBE-F868-E231994141C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03" y="4657"/>
            <a:ext cx="9144000" cy="5143500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A0C2C538-1E67-F345-BCCA-121A134E29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09795" y="2406150"/>
            <a:ext cx="4060825" cy="3312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Divider title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9BA032-77EA-A2CC-B5BF-FAAE70BA852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702" y="0"/>
            <a:ext cx="2595524" cy="5143500"/>
          </a:xfrm>
          <a:prstGeom prst="rect">
            <a:avLst/>
          </a:prstGeom>
        </p:spPr>
      </p:pic>
      <p:sp>
        <p:nvSpPr>
          <p:cNvPr id="2" name="object 37">
            <a:extLst>
              <a:ext uri="{FF2B5EF4-FFF2-40B4-BE49-F238E27FC236}">
                <a16:creationId xmlns:a16="http://schemas.microsoft.com/office/drawing/2014/main" id="{A07C765D-11B8-911F-210F-B01D312435B8}"/>
              </a:ext>
            </a:extLst>
          </p:cNvPr>
          <p:cNvSpPr txBox="1"/>
          <p:nvPr userDrawn="1"/>
        </p:nvSpPr>
        <p:spPr>
          <a:xfrm>
            <a:off x="8374682" y="4786131"/>
            <a:ext cx="394210" cy="1751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6" algn="r">
              <a:lnSpc>
                <a:spcPts val="1616"/>
              </a:lnSpc>
            </a:pPr>
            <a:fld id="{4FC69F23-2E07-414A-8684-A0744552B4DF}" type="slidenum">
              <a:rPr lang="en-GB" sz="700" spc="5">
                <a:solidFill>
                  <a:schemeClr val="bg1"/>
                </a:solidFill>
                <a:latin typeface="Arial"/>
                <a:cs typeface="Arial"/>
              </a:rPr>
              <a:pPr marL="5776" algn="r">
                <a:lnSpc>
                  <a:spcPts val="1616"/>
                </a:lnSpc>
              </a:pPr>
              <a:t>‹#›</a:t>
            </a:fld>
            <a:endParaRPr sz="700" dirty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019546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623DA83-C050-5D63-C96F-B1291F4B8F0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sub-title</a:t>
            </a:r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C346A663-A323-1181-7039-1A2BC94E29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46BFD32-6B79-E1EF-55CB-9BDEBDAA5F4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4591" y="1009650"/>
            <a:ext cx="8430160" cy="354330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F9C91B1-AFC4-7DB9-D557-386C4009B090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4627411"/>
            <a:ext cx="9144000" cy="135480"/>
          </a:xfrm>
          <a:prstGeom prst="rect">
            <a:avLst/>
          </a:prstGeom>
        </p:spPr>
        <p:txBody>
          <a:bodyPr lIns="0"/>
          <a:lstStyle>
            <a:lvl1pPr algn="ctr">
              <a:defRPr lang="en-US"/>
            </a:lvl1pPr>
          </a:lstStyle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2036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C3EDE40F-1311-4A6C-9739-AC99765D43B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5049" y="1342318"/>
            <a:ext cx="4110432" cy="3210631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BF5BDF-2519-0917-0C59-C0BEBBD9C1D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684319" y="1342320"/>
            <a:ext cx="4110432" cy="321063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0C9D3077-6F3D-6327-35E8-405F59FF9B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4447A38E-7B62-61B4-0A03-3A478D4A4DC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63E25A3C-83F1-98BF-7D64-91908C95DF06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4627411"/>
            <a:ext cx="9144000" cy="135480"/>
          </a:xfrm>
          <a:prstGeom prst="rect">
            <a:avLst/>
          </a:prstGeom>
        </p:spPr>
        <p:txBody>
          <a:bodyPr lIns="0"/>
          <a:lstStyle>
            <a:lvl1pPr algn="ctr">
              <a:defRPr lang="en-US"/>
            </a:lvl1pPr>
          </a:lstStyle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527E9BE-C95F-FAC5-50FD-76E54C1320A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65047" y="1009651"/>
            <a:ext cx="4110432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C438286-0A23-A483-F3C7-7337E73E4B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84319" y="1009651"/>
            <a:ext cx="4110053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90835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CE68B6CC-B4A1-A03B-A3E9-E9F4C29CE6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497056E-E7B2-5F1F-77DA-E4D0F3BCAE9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1B7194E1-1E29-FB20-49E5-C7E58819D72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4627411"/>
            <a:ext cx="9144000" cy="135480"/>
          </a:xfrm>
          <a:prstGeom prst="rect">
            <a:avLst/>
          </a:prstGeom>
        </p:spPr>
        <p:txBody>
          <a:bodyPr lIns="0"/>
          <a:lstStyle>
            <a:lvl1pPr algn="ctr">
              <a:defRPr lang="en-US"/>
            </a:lvl1pPr>
          </a:lstStyle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BD28CBB-DAD7-60D7-4730-C613DEEE428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65047" y="1009651"/>
            <a:ext cx="2675331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9944CE8-57FC-C28A-5E3D-9DFE719E571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229534" y="1009651"/>
            <a:ext cx="2675331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79F87BC-6761-709F-085A-1D095F877D4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119420" y="1009651"/>
            <a:ext cx="2674952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0D24730-D405-2D74-CD98-B828A667DEE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5049" y="1342320"/>
            <a:ext cx="2675331" cy="3210629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D84E56A-38B4-4DCF-6754-45F636E3091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229534" y="1342320"/>
            <a:ext cx="2675331" cy="3210629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82A5DCFA-DFCD-335A-E8FE-0C8EDE596F1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119420" y="1342320"/>
            <a:ext cx="2675331" cy="3210629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004368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BB28948A-3A30-DAAA-9987-45A22C793F1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4591" y="1342322"/>
            <a:ext cx="1981911" cy="321062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r">
              <a:buNone/>
              <a:defRPr sz="1000">
                <a:solidFill>
                  <a:schemeClr val="bg1"/>
                </a:solidFill>
              </a:defRPr>
            </a:lvl1pPr>
            <a:lvl2pPr marL="457200" indent="0" algn="r">
              <a:buNone/>
              <a:defRPr sz="1000">
                <a:solidFill>
                  <a:schemeClr val="bg1"/>
                </a:solidFill>
              </a:defRPr>
            </a:lvl2pPr>
            <a:lvl3pPr marL="914400" indent="0" algn="r">
              <a:buNone/>
              <a:defRPr sz="1000">
                <a:solidFill>
                  <a:schemeClr val="bg1"/>
                </a:solidFill>
              </a:defRPr>
            </a:lvl3pPr>
            <a:lvl4pPr marL="1371600" indent="0" algn="r">
              <a:buNone/>
              <a:defRPr sz="1000">
                <a:solidFill>
                  <a:schemeClr val="bg1"/>
                </a:solidFill>
              </a:defRPr>
            </a:lvl4pPr>
            <a:lvl5pPr marL="1828800" indent="0" algn="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 err="1"/>
              <a:t>Fift</a:t>
            </a:r>
            <a:r>
              <a:rPr lang="en-GB" dirty="0"/>
              <a:t> leve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59860C5-2592-EAB9-8853-34E1E7E69CC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514007" y="1342322"/>
            <a:ext cx="1981911" cy="321062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r">
              <a:buNone/>
              <a:defRPr sz="1000">
                <a:solidFill>
                  <a:schemeClr val="bg1"/>
                </a:solidFill>
              </a:defRPr>
            </a:lvl1pPr>
            <a:lvl2pPr marL="457200" indent="0" algn="r">
              <a:buNone/>
              <a:defRPr sz="1000">
                <a:solidFill>
                  <a:schemeClr val="bg1"/>
                </a:solidFill>
              </a:defRPr>
            </a:lvl2pPr>
            <a:lvl3pPr marL="914400" indent="0" algn="r">
              <a:buNone/>
              <a:defRPr sz="1000">
                <a:solidFill>
                  <a:schemeClr val="bg1"/>
                </a:solidFill>
              </a:defRPr>
            </a:lvl3pPr>
            <a:lvl4pPr marL="1371600" indent="0" algn="r">
              <a:buNone/>
              <a:defRPr sz="1000">
                <a:solidFill>
                  <a:schemeClr val="bg1"/>
                </a:solidFill>
              </a:defRPr>
            </a:lvl4pPr>
            <a:lvl5pPr marL="1828800" indent="0" algn="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F5A0837-D320-A897-2E0A-2265469A5B9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663423" y="1342322"/>
            <a:ext cx="1981911" cy="321062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r">
              <a:buNone/>
              <a:defRPr sz="1000">
                <a:solidFill>
                  <a:schemeClr val="bg1"/>
                </a:solidFill>
              </a:defRPr>
            </a:lvl1pPr>
            <a:lvl2pPr marL="457200" indent="0" algn="r">
              <a:buNone/>
              <a:defRPr sz="1000">
                <a:solidFill>
                  <a:schemeClr val="bg1"/>
                </a:solidFill>
              </a:defRPr>
            </a:lvl2pPr>
            <a:lvl3pPr marL="914400" indent="0" algn="r">
              <a:buNone/>
              <a:defRPr sz="1000">
                <a:solidFill>
                  <a:schemeClr val="bg1"/>
                </a:solidFill>
              </a:defRPr>
            </a:lvl3pPr>
            <a:lvl4pPr marL="1371600" indent="0" algn="r">
              <a:buNone/>
              <a:defRPr sz="1000">
                <a:solidFill>
                  <a:schemeClr val="bg1"/>
                </a:solidFill>
              </a:defRPr>
            </a:lvl4pPr>
            <a:lvl5pPr marL="1828800" indent="0" algn="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07E7520-5B3F-DE10-4FA2-B2879465B24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812840" y="1342322"/>
            <a:ext cx="1981911" cy="321062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r">
              <a:buNone/>
              <a:defRPr sz="1000">
                <a:solidFill>
                  <a:schemeClr val="bg1"/>
                </a:solidFill>
              </a:defRPr>
            </a:lvl1pPr>
            <a:lvl2pPr marL="457200" indent="0" algn="r">
              <a:buNone/>
              <a:defRPr sz="1000">
                <a:solidFill>
                  <a:schemeClr val="bg1"/>
                </a:solidFill>
              </a:defRPr>
            </a:lvl2pPr>
            <a:lvl3pPr marL="914400" indent="0" algn="r">
              <a:buNone/>
              <a:defRPr sz="1000">
                <a:solidFill>
                  <a:schemeClr val="bg1"/>
                </a:solidFill>
              </a:defRPr>
            </a:lvl3pPr>
            <a:lvl4pPr marL="1371600" indent="0" algn="r">
              <a:buNone/>
              <a:defRPr sz="1000">
                <a:solidFill>
                  <a:schemeClr val="bg1"/>
                </a:solidFill>
              </a:defRPr>
            </a:lvl4pPr>
            <a:lvl5pPr marL="1828800" indent="0" algn="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9228984-1B87-7DE6-0DC6-211D47638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C705BEC-35E7-982C-E8AE-24E6096B1CF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C6599DA-1265-B4B4-B9B4-D74BB96A93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A3568E0-1596-4CD8-6FC1-412DE62ECC0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65047" y="1009651"/>
            <a:ext cx="1981455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7BF764D8-8388-D3EA-4831-EAE4BAE7AE2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514669" y="1009651"/>
            <a:ext cx="1981455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9451458-211D-6BB3-5F7E-0501798BA3A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58429" y="1009651"/>
            <a:ext cx="1981455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570473C1-DCF7-F44A-2CDD-ABDD07A2E5D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07269" y="1009651"/>
            <a:ext cx="1981455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925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86">
          <p15:clr>
            <a:srgbClr val="FBAE40"/>
          </p15:clr>
        </p15:guide>
        <p15:guide id="2" pos="2980">
          <p15:clr>
            <a:srgbClr val="FBAE40"/>
          </p15:clr>
        </p15:guide>
        <p15:guide id="3" pos="308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D0FDC3A-AA39-5D12-FDA6-1F82575476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077" y="373744"/>
            <a:ext cx="2029522" cy="759246"/>
          </a:xfrm>
          <a:prstGeom prst="rect">
            <a:avLst/>
          </a:prstGeom>
        </p:spPr>
      </p:pic>
      <p:sp>
        <p:nvSpPr>
          <p:cNvPr id="4" name="Text Placeholder 13">
            <a:extLst>
              <a:ext uri="{FF2B5EF4-FFF2-40B4-BE49-F238E27FC236}">
                <a16:creationId xmlns:a16="http://schemas.microsoft.com/office/drawing/2014/main" id="{1F627827-9D5D-F546-0D18-05B65A74FE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8077" y="2034435"/>
            <a:ext cx="7498484" cy="9144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lang="en-US" sz="2000" kern="0" dirty="0" smtClean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US" sz="819" kern="1200" dirty="0" smtClean="0">
                <a:solidFill>
                  <a:schemeClr val="tx1"/>
                </a:solidFill>
              </a:defRPr>
            </a:lvl2pPr>
            <a:lvl3pPr>
              <a:defRPr lang="en-US" sz="819" kern="1200" dirty="0" smtClean="0">
                <a:solidFill>
                  <a:schemeClr val="tx1"/>
                </a:solidFill>
              </a:defRPr>
            </a:lvl3pPr>
            <a:lvl4pPr>
              <a:defRPr lang="en-US" sz="819" kern="1200" dirty="0" smtClean="0">
                <a:solidFill>
                  <a:schemeClr val="tx1"/>
                </a:solidFill>
              </a:defRPr>
            </a:lvl4pPr>
            <a:lvl5pPr>
              <a:defRPr lang="en-AU" sz="819" kern="1200" dirty="0">
                <a:solidFill>
                  <a:schemeClr val="tx1"/>
                </a:solidFill>
              </a:defRPr>
            </a:lvl5pPr>
          </a:lstStyle>
          <a:p>
            <a:pPr marL="12700" defTabSz="914400">
              <a:spcBef>
                <a:spcPts val="215"/>
              </a:spcBef>
            </a:pPr>
            <a:r>
              <a:rPr lang="en-US" sz="2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ti-line main</a:t>
            </a:r>
            <a:br>
              <a:rPr lang="en-US" sz="2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"/>
              </a:rPr>
              <a:t>Headline</a:t>
            </a:r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9383C15F-190D-E7BF-A567-BFE1BAC6E9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077" y="3122639"/>
            <a:ext cx="7498484" cy="492125"/>
          </a:xfrm>
          <a:prstGeom prst="rect">
            <a:avLst/>
          </a:prstGeom>
        </p:spPr>
        <p:txBody>
          <a:bodyPr lIns="0"/>
          <a:lstStyle>
            <a:lvl1pPr marL="0" indent="0" rtl="1">
              <a:buNone/>
              <a:defRPr kumimoji="0" lang="en-US" sz="1400" b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Multi-line Secondary </a:t>
            </a:r>
            <a:br>
              <a:rPr lang="en-US" dirty="0"/>
            </a:br>
            <a:r>
              <a:rPr lang="en-US" dirty="0"/>
              <a:t>Headline</a:t>
            </a:r>
          </a:p>
        </p:txBody>
      </p:sp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1D4190FB-7A5C-0880-B170-CA772460D2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8077" y="3864131"/>
            <a:ext cx="3598436" cy="211240"/>
          </a:xfrm>
          <a:prstGeom prst="rect">
            <a:avLst/>
          </a:prstGeom>
        </p:spPr>
        <p:txBody>
          <a:bodyPr lIns="0"/>
          <a:lstStyle>
            <a:lvl1pPr marL="0" marR="0" indent="0" algn="r" defTabSz="2438337" rtl="1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900" b="1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0" marR="0" indent="0" algn="r" defTabSz="2438337" rtl="1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900" b="1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 marL="0" marR="0" indent="0" algn="r" defTabSz="2438337" rtl="1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900" b="1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 marL="0" marR="0" indent="0" algn="r" defTabSz="2438337" rtl="1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900" b="1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 marL="0" marR="0" indent="0" algn="r" defTabSz="2438337" rtl="1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AU" sz="900" b="1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Month YYYY</a:t>
            </a:r>
            <a:endParaRPr lang="en-AU" dirty="0"/>
          </a:p>
        </p:txBody>
      </p:sp>
      <p:sp>
        <p:nvSpPr>
          <p:cNvPr id="7" name="Line">
            <a:extLst>
              <a:ext uri="{FF2B5EF4-FFF2-40B4-BE49-F238E27FC236}">
                <a16:creationId xmlns:a16="http://schemas.microsoft.com/office/drawing/2014/main" id="{7A01034E-0F03-9E0A-7D95-23BAFEA7D38B}"/>
              </a:ext>
            </a:extLst>
          </p:cNvPr>
          <p:cNvSpPr/>
          <p:nvPr userDrawn="1"/>
        </p:nvSpPr>
        <p:spPr>
          <a:xfrm>
            <a:off x="358774" y="1895970"/>
            <a:ext cx="8353426" cy="0"/>
          </a:xfrm>
          <a:prstGeom prst="line">
            <a:avLst/>
          </a:prstGeom>
          <a:ln w="12700">
            <a:solidFill>
              <a:schemeClr val="bg1"/>
            </a:solidFill>
            <a:miter lim="400000"/>
          </a:ln>
        </p:spPr>
        <p:txBody>
          <a:bodyPr lIns="45718" tIns="45718" rIns="45718" bIns="45718"/>
          <a:lstStyle/>
          <a:p>
            <a:endParaRPr lang="en-AE">
              <a:latin typeface="Helvetica LT Pro" panose="020B0504020202020204" pitchFamily="34" charset="0"/>
            </a:endParaRPr>
          </a:p>
        </p:txBody>
      </p:sp>
      <p:sp>
        <p:nvSpPr>
          <p:cNvPr id="8" name="Line">
            <a:extLst>
              <a:ext uri="{FF2B5EF4-FFF2-40B4-BE49-F238E27FC236}">
                <a16:creationId xmlns:a16="http://schemas.microsoft.com/office/drawing/2014/main" id="{C8D84639-1E0D-C470-DAEF-1A998B5F812A}"/>
              </a:ext>
            </a:extLst>
          </p:cNvPr>
          <p:cNvSpPr/>
          <p:nvPr userDrawn="1"/>
        </p:nvSpPr>
        <p:spPr>
          <a:xfrm>
            <a:off x="358774" y="3744964"/>
            <a:ext cx="8353426" cy="0"/>
          </a:xfrm>
          <a:prstGeom prst="line">
            <a:avLst/>
          </a:prstGeom>
          <a:ln w="12700">
            <a:solidFill>
              <a:schemeClr val="bg1"/>
            </a:solidFill>
            <a:miter lim="400000"/>
          </a:ln>
        </p:spPr>
        <p:txBody>
          <a:bodyPr lIns="45718" tIns="45718" rIns="45718" bIns="45718"/>
          <a:lstStyle/>
          <a:p>
            <a:endParaRPr lang="en-AE">
              <a:latin typeface="Helvetica LT Pro" panose="020B05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5233D48-A68D-C858-F455-9156630C4B2C}"/>
              </a:ext>
            </a:extLst>
          </p:cNvPr>
          <p:cNvSpPr/>
          <p:nvPr userDrawn="1"/>
        </p:nvSpPr>
        <p:spPr>
          <a:xfrm>
            <a:off x="8665480" y="4844874"/>
            <a:ext cx="108970" cy="87167"/>
          </a:xfrm>
          <a:prstGeom prst="rect">
            <a:avLst/>
          </a:prstGeom>
          <a:solidFill>
            <a:srgbClr val="282A4A"/>
          </a:solidFill>
          <a:ln>
            <a:solidFill>
              <a:srgbClr val="282A4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bject 37">
            <a:extLst>
              <a:ext uri="{FF2B5EF4-FFF2-40B4-BE49-F238E27FC236}">
                <a16:creationId xmlns:a16="http://schemas.microsoft.com/office/drawing/2014/main" id="{34DC83CB-A1D2-EA64-D99E-E8856A7A1771}"/>
              </a:ext>
            </a:extLst>
          </p:cNvPr>
          <p:cNvSpPr txBox="1"/>
          <p:nvPr userDrawn="1"/>
        </p:nvSpPr>
        <p:spPr>
          <a:xfrm>
            <a:off x="7253107" y="4757698"/>
            <a:ext cx="1529080" cy="1743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6" algn="r">
              <a:lnSpc>
                <a:spcPts val="1616"/>
              </a:lnSpc>
            </a:pPr>
            <a:r>
              <a:rPr lang="en-GB" sz="700" spc="5" dirty="0">
                <a:solidFill>
                  <a:schemeClr val="bg1"/>
                </a:solidFill>
                <a:latin typeface="Arial"/>
                <a:cs typeface="Arial"/>
              </a:rPr>
              <a:t>atrc.gov.ae</a:t>
            </a:r>
            <a:endParaRPr lang="en-GB" sz="700" dirty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871194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circles in a circle&#10;&#10;Description automatically generated">
            <a:extLst>
              <a:ext uri="{FF2B5EF4-FFF2-40B4-BE49-F238E27FC236}">
                <a16:creationId xmlns:a16="http://schemas.microsoft.com/office/drawing/2014/main" id="{25905A08-85DF-4AE9-7813-815FCED1D4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9546" y="269622"/>
            <a:ext cx="281354" cy="28356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A1F1C30-D863-7A0F-F350-05A0584A26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00857"/>
            <a:ext cx="9144000" cy="3157211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5A0A8FEF-C152-5DAC-A0C8-C5520A4EAB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049" y="274638"/>
            <a:ext cx="7825174" cy="27463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8AAD5E3-1BF6-327D-A803-149C64C13410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B4047856-A9D7-8A68-2992-9DA6741C8F8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125" y="1000857"/>
            <a:ext cx="7824788" cy="3601088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0C6CF9D-F5E9-96FA-D657-EBBB6555CE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4543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56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Imag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urple and blue waves&#10;&#10;Description automatically generated">
            <a:extLst>
              <a:ext uri="{FF2B5EF4-FFF2-40B4-BE49-F238E27FC236}">
                <a16:creationId xmlns:a16="http://schemas.microsoft.com/office/drawing/2014/main" id="{11E68A74-6A7C-308E-F492-7831C335B1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9" y="997004"/>
            <a:ext cx="9144000" cy="3157212"/>
          </a:xfrm>
          <a:prstGeom prst="rect">
            <a:avLst/>
          </a:prstGeom>
        </p:spPr>
      </p:pic>
      <p:pic>
        <p:nvPicPr>
          <p:cNvPr id="3" name="Picture 2" descr="A white circles in a circle&#10;&#10;Description automatically generated">
            <a:extLst>
              <a:ext uri="{FF2B5EF4-FFF2-40B4-BE49-F238E27FC236}">
                <a16:creationId xmlns:a16="http://schemas.microsoft.com/office/drawing/2014/main" id="{25905A08-85DF-4AE9-7813-815FCED1D47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9546" y="269622"/>
            <a:ext cx="281354" cy="28356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F6506E0A-2345-0A5A-7F75-E64E599F8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049" y="274638"/>
            <a:ext cx="7825174" cy="27463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7250CB9-AD58-9391-4563-1AA53F801149}"/>
              </a:ext>
            </a:extLst>
          </p:cNvPr>
          <p:cNvSpPr/>
          <p:nvPr userDrawn="1"/>
        </p:nvSpPr>
        <p:spPr>
          <a:xfrm>
            <a:off x="418057" y="761203"/>
            <a:ext cx="8310313" cy="4001688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67A114C1-0E67-AC6A-0E14-809319CE8D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125" y="1000857"/>
            <a:ext cx="7824788" cy="3601088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8C9C291A-176E-D5E9-52A8-EF59B2B3C1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1079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56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orient="horz" pos="2913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x1 + Small Image 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5F1B2C3-6287-CA1E-FE64-A4B0AAD5DF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00501"/>
            <a:ext cx="9144000" cy="315721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1ABB3DD-8584-9B95-2404-03B81E03B0CF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354864B-6B6C-12AB-3169-C0793BFDA3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1FE8C0DE-61E7-F68F-5207-95110C9DA94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7" name="Content Placeholder 15">
            <a:extLst>
              <a:ext uri="{FF2B5EF4-FFF2-40B4-BE49-F238E27FC236}">
                <a16:creationId xmlns:a16="http://schemas.microsoft.com/office/drawing/2014/main" id="{8444794E-CA1B-9D32-D4CE-B50F6B1ECE1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427785" y="1000500"/>
            <a:ext cx="3366966" cy="355244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AE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2EF8129D-61DB-2CB4-BC17-F4460F40AC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01D1068-9364-2680-6104-F4E424D922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65049" y="1342321"/>
            <a:ext cx="4862934" cy="3210629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1A8D6CF-98C5-60F9-C82D-9E1100CE7D2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65047" y="1009651"/>
            <a:ext cx="4862934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4661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22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x1 + Small Image 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urple and blue waves&#10;&#10;Description automatically generated">
            <a:extLst>
              <a:ext uri="{FF2B5EF4-FFF2-40B4-BE49-F238E27FC236}">
                <a16:creationId xmlns:a16="http://schemas.microsoft.com/office/drawing/2014/main" id="{9FCAE4E0-F6D5-F2A3-12D7-961A026EB3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05230"/>
            <a:ext cx="9144000" cy="315721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5A387D1-95F3-6EFA-207B-F1F7C8E0A8A6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354864B-6B6C-12AB-3169-C0793BFDA3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1FE8C0DE-61E7-F68F-5207-95110C9DA94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3" name="Content Placeholder 15">
            <a:extLst>
              <a:ext uri="{FF2B5EF4-FFF2-40B4-BE49-F238E27FC236}">
                <a16:creationId xmlns:a16="http://schemas.microsoft.com/office/drawing/2014/main" id="{A504682C-2A7C-6984-7503-E95EC33227F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427785" y="1000500"/>
            <a:ext cx="3366966" cy="355244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AE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44BC4D3E-3751-2424-6595-42F6788937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804ED55-52E5-D993-616F-D1BFBB5B1A0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65049" y="1342321"/>
            <a:ext cx="4862934" cy="3210629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AF22C53-8F3D-50EF-88C3-AF0B9D0DDEF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65047" y="1009651"/>
            <a:ext cx="4862934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1047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3402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x1 + Large Image 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9B8AB28-1CE8-5E15-4017-DC7EAFE472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14241"/>
            <a:ext cx="9144000" cy="3157211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701D777-57D2-39FE-51AB-488A388B28F2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6468F227-AC56-0F95-6933-112793D52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B0BCB1C-218B-EBAF-DCD8-6096425ED99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5" name="Content Placeholder 15">
            <a:extLst>
              <a:ext uri="{FF2B5EF4-FFF2-40B4-BE49-F238E27FC236}">
                <a16:creationId xmlns:a16="http://schemas.microsoft.com/office/drawing/2014/main" id="{B92B8278-1FCA-4D10-375C-477AFE92F016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617194" y="1000500"/>
            <a:ext cx="5177557" cy="355244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AE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CB0A3D1A-8610-8858-446B-884A306A09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FF42F8F-2FFD-608B-C632-CE405ED890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65049" y="1342321"/>
            <a:ext cx="3044902" cy="3210629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59DF961-8185-E90C-A9F1-AF3FFAFAC84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65047" y="1009651"/>
            <a:ext cx="3044902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49961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4">
            <a:extLst>
              <a:ext uri="{FF2B5EF4-FFF2-40B4-BE49-F238E27FC236}">
                <a16:creationId xmlns:a16="http://schemas.microsoft.com/office/drawing/2014/main" id="{65D91000-9194-4D5B-6F18-A3183EAD12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A0C2C538-1E67-F345-BCCA-121A134E29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09795" y="2406150"/>
            <a:ext cx="4060825" cy="331200"/>
          </a:xfrm>
        </p:spPr>
        <p:txBody>
          <a:bodyPr>
            <a:noAutofit/>
          </a:bodyPr>
          <a:lstStyle>
            <a:lvl1pPr>
              <a:defRPr>
                <a:solidFill>
                  <a:srgbClr val="253746"/>
                </a:solidFill>
              </a:defRPr>
            </a:lvl1pPr>
          </a:lstStyle>
          <a:p>
            <a:r>
              <a:rPr lang="en-US"/>
              <a:t>Divider title her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50B2215-2266-AE41-8B66-2ADD7BFD68D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2571750" cy="5143500"/>
          </a:xfrm>
          <a:prstGeom prst="rect">
            <a:avLst/>
          </a:prstGeom>
        </p:spPr>
      </p:pic>
      <p:sp>
        <p:nvSpPr>
          <p:cNvPr id="4" name="object 37">
            <a:extLst>
              <a:ext uri="{FF2B5EF4-FFF2-40B4-BE49-F238E27FC236}">
                <a16:creationId xmlns:a16="http://schemas.microsoft.com/office/drawing/2014/main" id="{198C3DF9-9576-7EDF-BB7C-CDF9A8297A5D}"/>
              </a:ext>
            </a:extLst>
          </p:cNvPr>
          <p:cNvSpPr txBox="1"/>
          <p:nvPr userDrawn="1"/>
        </p:nvSpPr>
        <p:spPr>
          <a:xfrm>
            <a:off x="8374682" y="4786131"/>
            <a:ext cx="394210" cy="1751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6" algn="r">
              <a:lnSpc>
                <a:spcPts val="1616"/>
              </a:lnSpc>
            </a:pPr>
            <a:fld id="{4FC69F23-2E07-414A-8684-A0744552B4DF}" type="slidenum">
              <a:rPr lang="en-GB" sz="700" spc="5">
                <a:solidFill>
                  <a:srgbClr val="6300FF"/>
                </a:solidFill>
                <a:latin typeface="Arial"/>
                <a:cs typeface="Arial"/>
              </a:rPr>
              <a:pPr marL="5776" algn="r">
                <a:lnSpc>
                  <a:spcPts val="1616"/>
                </a:lnSpc>
              </a:pPr>
              <a:t>‹#›</a:t>
            </a:fld>
            <a:endParaRPr sz="700" dirty="0">
              <a:solidFill>
                <a:srgbClr val="6300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782500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x1 + Large Image 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urple and blue waves&#10;&#10;Description automatically generated">
            <a:extLst>
              <a:ext uri="{FF2B5EF4-FFF2-40B4-BE49-F238E27FC236}">
                <a16:creationId xmlns:a16="http://schemas.microsoft.com/office/drawing/2014/main" id="{AF07FD07-AADC-D853-D438-CD899440F1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93144"/>
            <a:ext cx="9144000" cy="315721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7747304-5488-F974-46E7-F7236A0F4358}"/>
              </a:ext>
            </a:extLst>
          </p:cNvPr>
          <p:cNvSpPr/>
          <p:nvPr userDrawn="1"/>
        </p:nvSpPr>
        <p:spPr>
          <a:xfrm>
            <a:off x="418057" y="761203"/>
            <a:ext cx="8310313" cy="3866208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6468F227-AC56-0F95-6933-112793D52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B0BCB1C-218B-EBAF-DCD8-6096425ED99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4" name="Content Placeholder 15">
            <a:extLst>
              <a:ext uri="{FF2B5EF4-FFF2-40B4-BE49-F238E27FC236}">
                <a16:creationId xmlns:a16="http://schemas.microsoft.com/office/drawing/2014/main" id="{7DBE6329-E270-DABC-0DA6-3F1BA7A2EBEF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617194" y="1000500"/>
            <a:ext cx="5177557" cy="355244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AE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3E811C7F-1DC7-DEE1-F9C5-7D69F70F61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5487A7C-0A7A-6261-85E6-A2BBFB8476D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65049" y="1342321"/>
            <a:ext cx="3044902" cy="3210629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62BD5A-F9A5-E5E6-B6CD-10E55A50E61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65047" y="1009651"/>
            <a:ext cx="3044902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01097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x1 + Small Image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4F6F0C8-807A-3A17-D9A3-D35952D748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93144"/>
            <a:ext cx="9144000" cy="315721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B40A278-6AD8-3F90-DA4C-8D944B5AEEA4}"/>
              </a:ext>
            </a:extLst>
          </p:cNvPr>
          <p:cNvSpPr/>
          <p:nvPr userDrawn="1"/>
        </p:nvSpPr>
        <p:spPr>
          <a:xfrm>
            <a:off x="418057" y="761203"/>
            <a:ext cx="8310313" cy="3866208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2E8893D7-0F32-E92D-1E9C-B98576E70EE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65049" y="1342321"/>
            <a:ext cx="3044902" cy="3210629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338F415-51C3-F95C-2A57-CAF7E7235B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A450417-FBD9-D87A-F51F-B6736CB1C8C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3" name="Content Placeholder 15">
            <a:extLst>
              <a:ext uri="{FF2B5EF4-FFF2-40B4-BE49-F238E27FC236}">
                <a16:creationId xmlns:a16="http://schemas.microsoft.com/office/drawing/2014/main" id="{693918DD-3B65-6ED2-2DA8-2A8E5CF0E276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617194" y="1000500"/>
            <a:ext cx="2485157" cy="355244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AE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39CF645A-34C4-5E7B-B499-E050E241F248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293794" y="1000500"/>
            <a:ext cx="2485157" cy="355244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AE"/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11A730F9-1BB4-32B6-57D6-D87B9BBAF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868D0E0-4A7B-988C-EAA6-38C1E01F46E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65047" y="1009651"/>
            <a:ext cx="3044902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99042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x1 + Small Image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urple and blue waves&#10;&#10;Description automatically generated">
            <a:extLst>
              <a:ext uri="{FF2B5EF4-FFF2-40B4-BE49-F238E27FC236}">
                <a16:creationId xmlns:a16="http://schemas.microsoft.com/office/drawing/2014/main" id="{537315ED-0481-D7CF-F529-57C045712F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96669"/>
            <a:ext cx="9144000" cy="315721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263E8D8-4F33-6165-0BD6-E24B5459527F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2E8893D7-0F32-E92D-1E9C-B98576E70EE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65049" y="1009651"/>
            <a:ext cx="3044902" cy="354330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338F415-51C3-F95C-2A57-CAF7E7235B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A450417-FBD9-D87A-F51F-B6736CB1C8C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DFE059EF-7FF3-A8FE-8462-92FE8BA3AC8B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617194" y="1000500"/>
            <a:ext cx="2485157" cy="355244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AE"/>
          </a:p>
        </p:txBody>
      </p:sp>
      <p:sp>
        <p:nvSpPr>
          <p:cNvPr id="12" name="Content Placeholder 15">
            <a:extLst>
              <a:ext uri="{FF2B5EF4-FFF2-40B4-BE49-F238E27FC236}">
                <a16:creationId xmlns:a16="http://schemas.microsoft.com/office/drawing/2014/main" id="{EA5D78D8-054E-4083-6253-FA8B382228AA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293794" y="1000500"/>
            <a:ext cx="2485157" cy="355244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AE"/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0121D7DA-3D83-DB18-F1AA-1F1D116F40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440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x2 + Image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58165D9-CA8C-471D-E1D3-ACC510D1BC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93144"/>
            <a:ext cx="9144000" cy="315721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815CBB6-48AC-1238-5E57-9D1970AD4A7E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57856B-2CD4-1529-2D9F-2C7907D810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E710DE4-3397-14B8-9462-2BB792B36B2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07D96ED6-E137-A176-72BE-A580FABDFFDF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4709614" y="1000502"/>
            <a:ext cx="4085032" cy="165996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AE"/>
          </a:p>
        </p:txBody>
      </p:sp>
      <p:sp>
        <p:nvSpPr>
          <p:cNvPr id="17" name="Content Placeholder 15">
            <a:extLst>
              <a:ext uri="{FF2B5EF4-FFF2-40B4-BE49-F238E27FC236}">
                <a16:creationId xmlns:a16="http://schemas.microsoft.com/office/drawing/2014/main" id="{AE33E520-4941-C249-8B99-053BFE8A980B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65047" y="1000502"/>
            <a:ext cx="4085032" cy="165996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AE" dirty="0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EA5B80ED-5809-A680-292F-FA37ABFF04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B0A9273-350A-343C-2C19-5A7A4DAD86A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65046" y="2720639"/>
            <a:ext cx="4085031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647D56A-E0CF-F9F3-059D-4F8837D3790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709039" y="2725123"/>
            <a:ext cx="4085031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6B735FA-1C01-DA70-0159-A2BD0F10DA4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5049" y="3130972"/>
            <a:ext cx="4085031" cy="1421977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2F1C71A-C0E4-1C14-12C9-E15EC890E02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709720" y="3130972"/>
            <a:ext cx="4085031" cy="1421977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46298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71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x2 + Image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urple and blue waves&#10;&#10;Description automatically generated">
            <a:extLst>
              <a:ext uri="{FF2B5EF4-FFF2-40B4-BE49-F238E27FC236}">
                <a16:creationId xmlns:a16="http://schemas.microsoft.com/office/drawing/2014/main" id="{40BF0BB0-EB64-0B3D-63C9-AD5C068ACA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88712"/>
            <a:ext cx="9144000" cy="315721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815CBB6-48AC-1238-5E57-9D1970AD4A7E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57856B-2CD4-1529-2D9F-2C7907D810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E710DE4-3397-14B8-9462-2BB792B36B2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07D96ED6-E137-A176-72BE-A580FABDFFDF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4709614" y="1000502"/>
            <a:ext cx="4085032" cy="165996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AE"/>
          </a:p>
        </p:txBody>
      </p:sp>
      <p:sp>
        <p:nvSpPr>
          <p:cNvPr id="17" name="Content Placeholder 15">
            <a:extLst>
              <a:ext uri="{FF2B5EF4-FFF2-40B4-BE49-F238E27FC236}">
                <a16:creationId xmlns:a16="http://schemas.microsoft.com/office/drawing/2014/main" id="{AE33E520-4941-C249-8B99-053BFE8A980B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65047" y="1000502"/>
            <a:ext cx="4085032" cy="165996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AE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EA5B80ED-5809-A680-292F-FA37ABFF04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B0A9273-350A-343C-2C19-5A7A4DAD86A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65046" y="2720639"/>
            <a:ext cx="4085031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647D56A-E0CF-F9F3-059D-4F8837D3790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709039" y="2725123"/>
            <a:ext cx="4085031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6B735FA-1C01-DA70-0159-A2BD0F10DA4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5049" y="3130972"/>
            <a:ext cx="4085031" cy="1421977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2F1C71A-C0E4-1C14-12C9-E15EC890E02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709720" y="3130972"/>
            <a:ext cx="4085031" cy="1421977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38396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71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x3 + Image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CB48B3A-34F2-FB2F-6C2C-C580E72560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91526"/>
            <a:ext cx="9144000" cy="315721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739A0B89-69F3-D84F-252F-F9AF86CB4C43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96A01CE-9ED4-E172-F4A8-FD6F04966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639154E-6F5B-BFA0-7F78-2207C948852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5B2C4FC4-E90C-CEA6-13EC-2EE334EE572A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230776" y="1000502"/>
            <a:ext cx="2674800" cy="165996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AE"/>
          </a:p>
        </p:txBody>
      </p:sp>
      <p:sp>
        <p:nvSpPr>
          <p:cNvPr id="17" name="Content Placeholder 15">
            <a:extLst>
              <a:ext uri="{FF2B5EF4-FFF2-40B4-BE49-F238E27FC236}">
                <a16:creationId xmlns:a16="http://schemas.microsoft.com/office/drawing/2014/main" id="{9D8F951E-2E5A-D352-536D-54A821B9E6BB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65047" y="1000502"/>
            <a:ext cx="2674800" cy="165996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AE"/>
          </a:p>
        </p:txBody>
      </p:sp>
      <p:sp>
        <p:nvSpPr>
          <p:cNvPr id="20" name="Content Placeholder 15">
            <a:extLst>
              <a:ext uri="{FF2B5EF4-FFF2-40B4-BE49-F238E27FC236}">
                <a16:creationId xmlns:a16="http://schemas.microsoft.com/office/drawing/2014/main" id="{01095DC7-10EE-818C-1895-A7CA92B03654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126376" y="1000502"/>
            <a:ext cx="2674800" cy="165996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AE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C189C806-825F-B863-4165-C820B9B82C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5" name="Content Placeholder 15">
            <a:extLst>
              <a:ext uri="{FF2B5EF4-FFF2-40B4-BE49-F238E27FC236}">
                <a16:creationId xmlns:a16="http://schemas.microsoft.com/office/drawing/2014/main" id="{AAA0A9F0-8E6D-8F14-CA11-BAB3F86FE42F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365047" y="1000502"/>
            <a:ext cx="2674800" cy="165996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AE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C646BA1-8942-D19D-FC17-830A3A1454EA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65047" y="2720639"/>
            <a:ext cx="2674800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E3951AE-A6FA-8CB1-B99D-08B1A9CDA5C8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234571" y="2720639"/>
            <a:ext cx="2670294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A1D8519-CADD-37D5-CBD8-150F1A8E380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127425" y="2725123"/>
            <a:ext cx="2673751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574B92F-D0AA-FF36-E05A-73EC44C2289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5049" y="3130973"/>
            <a:ext cx="2675331" cy="1421975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8AFD1F5-14A1-1F55-F066-1661B10BA46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229534" y="3130973"/>
            <a:ext cx="2675331" cy="1421975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6C4226C-CB9F-A756-1449-39C6FABD895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19420" y="3130973"/>
            <a:ext cx="2675331" cy="1421975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306108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x3 + Image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urple and blue waves&#10;&#10;Description automatically generated">
            <a:extLst>
              <a:ext uri="{FF2B5EF4-FFF2-40B4-BE49-F238E27FC236}">
                <a16:creationId xmlns:a16="http://schemas.microsoft.com/office/drawing/2014/main" id="{EABF6AFC-8B32-6293-2145-B2EC6C4D6F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98286"/>
            <a:ext cx="9144000" cy="315721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4143948-DC64-542D-C0DD-58CB1A08410E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96A01CE-9ED4-E172-F4A8-FD6F04966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639154E-6F5B-BFA0-7F78-2207C948852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3" name="Content Placeholder 15">
            <a:extLst>
              <a:ext uri="{FF2B5EF4-FFF2-40B4-BE49-F238E27FC236}">
                <a16:creationId xmlns:a16="http://schemas.microsoft.com/office/drawing/2014/main" id="{D1CBAB4C-4E40-173B-1F32-2EC5433D83A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230776" y="1000502"/>
            <a:ext cx="2674800" cy="165996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AE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DCBECCB2-F445-3A1F-E0AE-8E255481E322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65047" y="1000502"/>
            <a:ext cx="2674800" cy="165996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AE"/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A573C0AC-721B-A942-C5F8-D735F5CC7961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126376" y="1000502"/>
            <a:ext cx="2674800" cy="165996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AE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3E3F9FA3-32AF-A8FA-EA45-9E91EE3598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60142A8-DEF4-C04D-3E67-C17A4D03D38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65047" y="2720639"/>
            <a:ext cx="2674800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F8D93A2A-5622-5411-6666-68E27C02ACDB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234571" y="2720639"/>
            <a:ext cx="2670294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B3205E6-C2F4-A160-56AE-078F08BC51B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127425" y="2725123"/>
            <a:ext cx="2673751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DD5810A-70A8-A0BA-377B-DF6134E93D5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5049" y="3130973"/>
            <a:ext cx="2675331" cy="1421975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04AF7B7-1231-E8D8-8ED0-B95AC5B88EE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229534" y="3130973"/>
            <a:ext cx="2675331" cy="1421975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AB180D36-8E1E-54DB-1B76-E4C02A90B88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19420" y="3130973"/>
            <a:ext cx="2675331" cy="1421975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00097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73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x4 + Image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0B9D20B4-0EE7-BA36-810D-C32C270A90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01966"/>
            <a:ext cx="9144000" cy="3157211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21D8539F-8791-4346-CDF3-45634ECCA617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D9BF5AB-DC2A-A81D-669A-29D5DC944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8A39F66E-D71C-2D78-7BBC-E96A2CFA0A9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21" name="Content Placeholder 15">
            <a:extLst>
              <a:ext uri="{FF2B5EF4-FFF2-40B4-BE49-F238E27FC236}">
                <a16:creationId xmlns:a16="http://schemas.microsoft.com/office/drawing/2014/main" id="{DA265C09-BBCD-5AF9-2E4B-979AF363366D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2514313" y="1000502"/>
            <a:ext cx="1981911" cy="165996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AE"/>
          </a:p>
        </p:txBody>
      </p:sp>
      <p:sp>
        <p:nvSpPr>
          <p:cNvPr id="22" name="Content Placeholder 15">
            <a:extLst>
              <a:ext uri="{FF2B5EF4-FFF2-40B4-BE49-F238E27FC236}">
                <a16:creationId xmlns:a16="http://schemas.microsoft.com/office/drawing/2014/main" id="{F97ABCC9-DD57-1A29-063A-FF8EA388CDF6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65047" y="1000502"/>
            <a:ext cx="1981911" cy="165996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AE" dirty="0"/>
          </a:p>
        </p:txBody>
      </p:sp>
      <p:sp>
        <p:nvSpPr>
          <p:cNvPr id="23" name="Content Placeholder 15">
            <a:extLst>
              <a:ext uri="{FF2B5EF4-FFF2-40B4-BE49-F238E27FC236}">
                <a16:creationId xmlns:a16="http://schemas.microsoft.com/office/drawing/2014/main" id="{8E4626A4-BED4-7214-58BF-2C9C76508E87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663577" y="1000502"/>
            <a:ext cx="1981911" cy="165996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AE"/>
          </a:p>
        </p:txBody>
      </p:sp>
      <p:sp>
        <p:nvSpPr>
          <p:cNvPr id="24" name="Content Placeholder 15">
            <a:extLst>
              <a:ext uri="{FF2B5EF4-FFF2-40B4-BE49-F238E27FC236}">
                <a16:creationId xmlns:a16="http://schemas.microsoft.com/office/drawing/2014/main" id="{209E53E5-FA62-DC9D-C1EA-4D2CDE923B30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6810588" y="1000502"/>
            <a:ext cx="1981911" cy="165996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AE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C5B0CF5C-8588-595C-0B4A-722516A7DC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F638C45-5B0A-55F1-E850-D172E7AA7B3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5049" y="3130973"/>
            <a:ext cx="1981911" cy="1421974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ED7E4F1-5932-C114-D2D6-212AAFA82CD8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514313" y="3130973"/>
            <a:ext cx="1981911" cy="1421974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AC5D51B-86C1-6C5C-234B-0D6559439A6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3577" y="3130973"/>
            <a:ext cx="1981911" cy="1421974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595CADA-ABE5-7968-146F-D724E91A6ADB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12840" y="3130973"/>
            <a:ext cx="1981911" cy="1421974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9DD1E14-A4E1-CA6D-A38C-D53971C37B6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65047" y="2720639"/>
            <a:ext cx="1981911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8525DA9-7ED2-A054-3BFA-08537D9CD2C0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516784" y="2725123"/>
            <a:ext cx="1981911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6CE1293-5506-15A6-294C-C91EF004226E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663508" y="2720639"/>
            <a:ext cx="1981911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0E6DC0E-E3B3-4B99-7B95-274899EC758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806940" y="2725123"/>
            <a:ext cx="1981911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60006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x4 + Image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urple and blue waves&#10;&#10;Description automatically generated">
            <a:extLst>
              <a:ext uri="{FF2B5EF4-FFF2-40B4-BE49-F238E27FC236}">
                <a16:creationId xmlns:a16="http://schemas.microsoft.com/office/drawing/2014/main" id="{CF478D58-E0A0-862D-D9FC-87F8986425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99690"/>
            <a:ext cx="9144000" cy="3157212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F5E9AECF-E967-397A-E1C2-E102BFEEBE7A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11B73427-0AE6-F082-C0E0-C89EF4BCA88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5049" y="3130973"/>
            <a:ext cx="1981911" cy="1421974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84DDA22-C963-A2C9-23D4-399335279BA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514313" y="3130973"/>
            <a:ext cx="1981911" cy="1421974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0ACC004-3E80-9487-C9AB-9DD9C6079DB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3577" y="3130973"/>
            <a:ext cx="1981911" cy="1421974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4CD145D-9286-740A-2880-AAD1DCED8C68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12840" y="3130973"/>
            <a:ext cx="1981911" cy="1421974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D9BF5AB-DC2A-A81D-669A-29D5DC944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8A39F66E-D71C-2D78-7BBC-E96A2CFA0A9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37610D2E-DB84-2965-9F9D-0A48DB176730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2514313" y="1000502"/>
            <a:ext cx="1981911" cy="165996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AE"/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32B268C8-8D8E-3A8F-82CE-2D4F38D752ED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65047" y="1000502"/>
            <a:ext cx="1981911" cy="165996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AE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1A700C19-A967-F33B-9971-ACC17FB0E8A5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663577" y="1000502"/>
            <a:ext cx="1981911" cy="165996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AE"/>
          </a:p>
        </p:txBody>
      </p:sp>
      <p:sp>
        <p:nvSpPr>
          <p:cNvPr id="17" name="Content Placeholder 15">
            <a:extLst>
              <a:ext uri="{FF2B5EF4-FFF2-40B4-BE49-F238E27FC236}">
                <a16:creationId xmlns:a16="http://schemas.microsoft.com/office/drawing/2014/main" id="{2EB38783-FF59-85D5-4BE3-748961F1145B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6810588" y="1000502"/>
            <a:ext cx="1981911" cy="165996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AE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6619E76F-2259-4744-3168-722913F38D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57F7F53-DD3D-B380-FE14-4D24A72654C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65047" y="2720639"/>
            <a:ext cx="1981911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44897D1-5E0F-4A73-0AD7-718A92486C7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516784" y="2725123"/>
            <a:ext cx="1981911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761C90F-C739-643C-383B-5E1F82676CC6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663508" y="2720639"/>
            <a:ext cx="1981911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CCFE9DFC-8A35-6CCF-3B2B-D31D78ACE0A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806940" y="2725123"/>
            <a:ext cx="1981911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287117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87" userDrawn="1">
          <p15:clr>
            <a:srgbClr val="FBAE40"/>
          </p15:clr>
        </p15:guide>
        <p15:guide id="2" orient="horz" pos="1960" userDrawn="1">
          <p15:clr>
            <a:srgbClr val="FBAE40"/>
          </p15:clr>
        </p15:guide>
        <p15:guide id="3" orient="horz" pos="1711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5A0766F-14F3-FD06-382C-6B02454C98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90492"/>
            <a:ext cx="9144000" cy="315721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80DFD54-F929-FCDA-CA69-BEB9AC98C767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1ADB032-7018-AC34-5404-75BC0A3DD6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4D65DDEF-3C79-6625-D003-161B2AAC83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2E2E9289-846B-2E57-D401-79B464D390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25" name="Picture Placeholder 7">
            <a:extLst>
              <a:ext uri="{FF2B5EF4-FFF2-40B4-BE49-F238E27FC236}">
                <a16:creationId xmlns:a16="http://schemas.microsoft.com/office/drawing/2014/main" id="{40C9FA21-3978-8293-C555-837DF5BE1848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622499" y="1014026"/>
            <a:ext cx="2237534" cy="9258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D9D9D9"/>
            </a:solidFill>
          </a:ln>
        </p:spPr>
        <p:txBody>
          <a:bodyPr/>
          <a:lstStyle>
            <a:lvl1pPr marL="0" indent="0">
              <a:buFontTx/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AE"/>
          </a:p>
        </p:txBody>
      </p:sp>
      <p:sp>
        <p:nvSpPr>
          <p:cNvPr id="26" name="Picture Placeholder 8">
            <a:extLst>
              <a:ext uri="{FF2B5EF4-FFF2-40B4-BE49-F238E27FC236}">
                <a16:creationId xmlns:a16="http://schemas.microsoft.com/office/drawing/2014/main" id="{7A7ECE3C-9C32-5CF4-6436-C8666143DEE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22499" y="2301387"/>
            <a:ext cx="2237534" cy="9258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D9D9D9"/>
            </a:solidFill>
          </a:ln>
        </p:spPr>
        <p:txBody>
          <a:bodyPr/>
          <a:lstStyle>
            <a:lvl1pPr marL="0" indent="0">
              <a:buFontTx/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AE"/>
          </a:p>
        </p:txBody>
      </p:sp>
      <p:sp>
        <p:nvSpPr>
          <p:cNvPr id="27" name="Picture Placeholder 9">
            <a:extLst>
              <a:ext uri="{FF2B5EF4-FFF2-40B4-BE49-F238E27FC236}">
                <a16:creationId xmlns:a16="http://schemas.microsoft.com/office/drawing/2014/main" id="{AE5F230D-292D-0734-A987-C15B93C31C93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622499" y="3588749"/>
            <a:ext cx="2237534" cy="9258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D9D9D9"/>
            </a:solidFill>
          </a:ln>
        </p:spPr>
        <p:txBody>
          <a:bodyPr/>
          <a:lstStyle>
            <a:lvl1pPr marL="0" indent="0">
              <a:buFontTx/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AE"/>
          </a:p>
        </p:txBody>
      </p:sp>
      <p:sp>
        <p:nvSpPr>
          <p:cNvPr id="28" name="Picture Placeholder 19">
            <a:extLst>
              <a:ext uri="{FF2B5EF4-FFF2-40B4-BE49-F238E27FC236}">
                <a16:creationId xmlns:a16="http://schemas.microsoft.com/office/drawing/2014/main" id="{15759CDA-7FFE-79B8-8474-A6EAF77C51AF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3464957" y="1014026"/>
            <a:ext cx="2237534" cy="9258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D9D9D9"/>
            </a:solidFill>
          </a:ln>
        </p:spPr>
        <p:txBody>
          <a:bodyPr/>
          <a:lstStyle>
            <a:lvl1pPr marL="0" indent="0">
              <a:buFontTx/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AE"/>
          </a:p>
        </p:txBody>
      </p:sp>
      <p:sp>
        <p:nvSpPr>
          <p:cNvPr id="29" name="Picture Placeholder 20">
            <a:extLst>
              <a:ext uri="{FF2B5EF4-FFF2-40B4-BE49-F238E27FC236}">
                <a16:creationId xmlns:a16="http://schemas.microsoft.com/office/drawing/2014/main" id="{0697B42F-DFA3-62ED-DED6-74DEE33BBE3E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3464957" y="2301387"/>
            <a:ext cx="2237534" cy="9258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D9D9D9"/>
            </a:solidFill>
          </a:ln>
        </p:spPr>
        <p:txBody>
          <a:bodyPr/>
          <a:lstStyle>
            <a:lvl1pPr marL="0" indent="0">
              <a:buFontTx/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AE"/>
          </a:p>
        </p:txBody>
      </p:sp>
      <p:sp>
        <p:nvSpPr>
          <p:cNvPr id="30" name="Picture Placeholder 21">
            <a:extLst>
              <a:ext uri="{FF2B5EF4-FFF2-40B4-BE49-F238E27FC236}">
                <a16:creationId xmlns:a16="http://schemas.microsoft.com/office/drawing/2014/main" id="{6D9AB94F-3940-CC34-1EC5-AAE050F5CB8B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3464957" y="3588749"/>
            <a:ext cx="2237534" cy="9258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D9D9D9"/>
            </a:solidFill>
          </a:ln>
        </p:spPr>
        <p:txBody>
          <a:bodyPr/>
          <a:lstStyle>
            <a:lvl1pPr marL="0" indent="0">
              <a:buFontTx/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AE"/>
          </a:p>
        </p:txBody>
      </p:sp>
      <p:sp>
        <p:nvSpPr>
          <p:cNvPr id="31" name="Picture Placeholder 23">
            <a:extLst>
              <a:ext uri="{FF2B5EF4-FFF2-40B4-BE49-F238E27FC236}">
                <a16:creationId xmlns:a16="http://schemas.microsoft.com/office/drawing/2014/main" id="{8E88747A-34BE-B3B7-B424-FFE6571FD430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6307415" y="1014026"/>
            <a:ext cx="2237534" cy="9258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D9D9D9"/>
            </a:solidFill>
          </a:ln>
        </p:spPr>
        <p:txBody>
          <a:bodyPr/>
          <a:lstStyle>
            <a:lvl1pPr marL="0" indent="0">
              <a:buFontTx/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AE"/>
          </a:p>
        </p:txBody>
      </p:sp>
      <p:sp>
        <p:nvSpPr>
          <p:cNvPr id="32" name="Picture Placeholder 24">
            <a:extLst>
              <a:ext uri="{FF2B5EF4-FFF2-40B4-BE49-F238E27FC236}">
                <a16:creationId xmlns:a16="http://schemas.microsoft.com/office/drawing/2014/main" id="{E350E51B-97A8-4580-9C55-8DD0EED7CF06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6307415" y="2301387"/>
            <a:ext cx="2237534" cy="9258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D9D9D9"/>
            </a:solidFill>
          </a:ln>
        </p:spPr>
        <p:txBody>
          <a:bodyPr/>
          <a:lstStyle>
            <a:lvl1pPr marL="0" indent="0">
              <a:buFontTx/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AE"/>
          </a:p>
        </p:txBody>
      </p:sp>
      <p:sp>
        <p:nvSpPr>
          <p:cNvPr id="33" name="Picture Placeholder 25">
            <a:extLst>
              <a:ext uri="{FF2B5EF4-FFF2-40B4-BE49-F238E27FC236}">
                <a16:creationId xmlns:a16="http://schemas.microsoft.com/office/drawing/2014/main" id="{E3075F5F-7847-744E-205F-1E974D076216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6307415" y="3588749"/>
            <a:ext cx="2237534" cy="9258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D9D9D9"/>
            </a:solidFill>
          </a:ln>
        </p:spPr>
        <p:txBody>
          <a:bodyPr/>
          <a:lstStyle>
            <a:lvl1pPr marL="0" indent="0">
              <a:buFontTx/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3145174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97352E5-3A47-6DF0-DE4C-8832B22AC9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6491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7352E5-3A47-6DF0-DE4C-8832B22AC9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4">
            <a:extLst>
              <a:ext uri="{FF2B5EF4-FFF2-40B4-BE49-F238E27FC236}">
                <a16:creationId xmlns:a16="http://schemas.microsoft.com/office/drawing/2014/main" id="{D0C67453-4474-B832-59D7-34463E44FD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E9E6DDFD-7412-9F81-45EF-5C88793897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92039" y="1074498"/>
            <a:ext cx="4060825" cy="3399847"/>
          </a:xfrm>
          <a:prstGeom prst="rect">
            <a:avLst/>
          </a:prstGeom>
        </p:spPr>
        <p:txBody>
          <a:bodyPr vert="horz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200">
                <a:solidFill>
                  <a:srgbClr val="25374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ext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11" name="Title 9">
            <a:extLst>
              <a:ext uri="{FF2B5EF4-FFF2-40B4-BE49-F238E27FC236}">
                <a16:creationId xmlns:a16="http://schemas.microsoft.com/office/drawing/2014/main" id="{211C2481-2337-DB69-5E37-C5B5670C0F3C}"/>
              </a:ext>
            </a:extLst>
          </p:cNvPr>
          <p:cNvSpPr txBox="1">
            <a:spLocks/>
          </p:cNvSpPr>
          <p:nvPr userDrawn="1"/>
        </p:nvSpPr>
        <p:spPr>
          <a:xfrm>
            <a:off x="4692039" y="470819"/>
            <a:ext cx="4060825" cy="390316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 algn="r" defTabSz="914400" rtl="1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200" kern="120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indent="0">
              <a:buNone/>
            </a:pPr>
            <a:r>
              <a:rPr lang="en-US" sz="1600" b="1"/>
              <a:t>Agenda</a:t>
            </a:r>
          </a:p>
        </p:txBody>
      </p:sp>
      <p:sp>
        <p:nvSpPr>
          <p:cNvPr id="4" name="object 37">
            <a:extLst>
              <a:ext uri="{FF2B5EF4-FFF2-40B4-BE49-F238E27FC236}">
                <a16:creationId xmlns:a16="http://schemas.microsoft.com/office/drawing/2014/main" id="{E9FBBB7B-9F73-9F73-AF6D-706A988BF3E6}"/>
              </a:ext>
            </a:extLst>
          </p:cNvPr>
          <p:cNvSpPr txBox="1"/>
          <p:nvPr userDrawn="1"/>
        </p:nvSpPr>
        <p:spPr>
          <a:xfrm>
            <a:off x="8374682" y="4786131"/>
            <a:ext cx="394210" cy="1751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6" algn="r">
              <a:lnSpc>
                <a:spcPts val="1616"/>
              </a:lnSpc>
            </a:pPr>
            <a:fld id="{4FC69F23-2E07-414A-8684-A0744552B4DF}" type="slidenum">
              <a:rPr lang="en-GB" sz="700" spc="5">
                <a:solidFill>
                  <a:srgbClr val="6300FF"/>
                </a:solidFill>
                <a:latin typeface="Arial"/>
                <a:cs typeface="Arial"/>
              </a:rPr>
              <a:pPr marL="5776" algn="r">
                <a:lnSpc>
                  <a:spcPts val="1616"/>
                </a:lnSpc>
              </a:pPr>
              <a:t>‹#›</a:t>
            </a:fld>
            <a:endParaRPr sz="700" dirty="0">
              <a:solidFill>
                <a:srgbClr val="6300FF"/>
              </a:solidFill>
              <a:latin typeface="Arial"/>
              <a:cs typeface="Arial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59E7FF6-CA7E-B3D3-723B-2A748660227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257175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95613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urple and blue waves&#10;&#10;Description automatically generated">
            <a:extLst>
              <a:ext uri="{FF2B5EF4-FFF2-40B4-BE49-F238E27FC236}">
                <a16:creationId xmlns:a16="http://schemas.microsoft.com/office/drawing/2014/main" id="{B0BAE247-8B56-51D9-D0BF-43EA7C682F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93144"/>
            <a:ext cx="9144000" cy="3157212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E6E81D2-51AD-C7CD-3BB8-5619A5FB2DDA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1ADB032-7018-AC34-5404-75BC0A3DD6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4D65DDEF-3C79-6625-D003-161B2AAC83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617E9ED5-F5E5-24ED-15B3-28A122E819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25" name="Picture Placeholder 7">
            <a:extLst>
              <a:ext uri="{FF2B5EF4-FFF2-40B4-BE49-F238E27FC236}">
                <a16:creationId xmlns:a16="http://schemas.microsoft.com/office/drawing/2014/main" id="{E95A7D91-ADE3-9BF9-427E-53049E58BD68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622499" y="1014026"/>
            <a:ext cx="2237534" cy="9258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D9D9D9"/>
            </a:solidFill>
          </a:ln>
        </p:spPr>
        <p:txBody>
          <a:bodyPr/>
          <a:lstStyle>
            <a:lvl1pPr marL="0" indent="0">
              <a:buFontTx/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AE"/>
          </a:p>
        </p:txBody>
      </p:sp>
      <p:sp>
        <p:nvSpPr>
          <p:cNvPr id="26" name="Picture Placeholder 8">
            <a:extLst>
              <a:ext uri="{FF2B5EF4-FFF2-40B4-BE49-F238E27FC236}">
                <a16:creationId xmlns:a16="http://schemas.microsoft.com/office/drawing/2014/main" id="{C6901E12-49B0-48B7-B340-7F8E9612413C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22499" y="2301387"/>
            <a:ext cx="2237534" cy="9258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D9D9D9"/>
            </a:solidFill>
          </a:ln>
        </p:spPr>
        <p:txBody>
          <a:bodyPr/>
          <a:lstStyle>
            <a:lvl1pPr marL="0" indent="0">
              <a:buFontTx/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AE"/>
          </a:p>
        </p:txBody>
      </p:sp>
      <p:sp>
        <p:nvSpPr>
          <p:cNvPr id="27" name="Picture Placeholder 9">
            <a:extLst>
              <a:ext uri="{FF2B5EF4-FFF2-40B4-BE49-F238E27FC236}">
                <a16:creationId xmlns:a16="http://schemas.microsoft.com/office/drawing/2014/main" id="{FA99F88F-9918-6BCD-62B9-B2A0BE0799A0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622499" y="3588749"/>
            <a:ext cx="2237534" cy="9258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D9D9D9"/>
            </a:solidFill>
          </a:ln>
        </p:spPr>
        <p:txBody>
          <a:bodyPr/>
          <a:lstStyle>
            <a:lvl1pPr marL="0" indent="0">
              <a:buFontTx/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AE"/>
          </a:p>
        </p:txBody>
      </p:sp>
      <p:sp>
        <p:nvSpPr>
          <p:cNvPr id="28" name="Picture Placeholder 19">
            <a:extLst>
              <a:ext uri="{FF2B5EF4-FFF2-40B4-BE49-F238E27FC236}">
                <a16:creationId xmlns:a16="http://schemas.microsoft.com/office/drawing/2014/main" id="{9ACA7A29-225B-277C-2CDB-9F76BF6833CD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3464957" y="1014026"/>
            <a:ext cx="2237534" cy="9258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D9D9D9"/>
            </a:solidFill>
          </a:ln>
        </p:spPr>
        <p:txBody>
          <a:bodyPr/>
          <a:lstStyle>
            <a:lvl1pPr marL="0" indent="0">
              <a:buFontTx/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AE"/>
          </a:p>
        </p:txBody>
      </p:sp>
      <p:sp>
        <p:nvSpPr>
          <p:cNvPr id="29" name="Picture Placeholder 20">
            <a:extLst>
              <a:ext uri="{FF2B5EF4-FFF2-40B4-BE49-F238E27FC236}">
                <a16:creationId xmlns:a16="http://schemas.microsoft.com/office/drawing/2014/main" id="{8A675671-4F7A-32C2-67EB-4B346928BE3F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3464957" y="2301387"/>
            <a:ext cx="2237534" cy="9258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D9D9D9"/>
            </a:solidFill>
          </a:ln>
        </p:spPr>
        <p:txBody>
          <a:bodyPr/>
          <a:lstStyle>
            <a:lvl1pPr marL="0" indent="0">
              <a:buFontTx/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AE"/>
          </a:p>
        </p:txBody>
      </p:sp>
      <p:sp>
        <p:nvSpPr>
          <p:cNvPr id="30" name="Picture Placeholder 21">
            <a:extLst>
              <a:ext uri="{FF2B5EF4-FFF2-40B4-BE49-F238E27FC236}">
                <a16:creationId xmlns:a16="http://schemas.microsoft.com/office/drawing/2014/main" id="{95719ECF-41E5-CFC2-92B3-D3571E89C9E0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3464957" y="3588749"/>
            <a:ext cx="2237534" cy="9258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D9D9D9"/>
            </a:solidFill>
          </a:ln>
        </p:spPr>
        <p:txBody>
          <a:bodyPr/>
          <a:lstStyle>
            <a:lvl1pPr marL="0" indent="0">
              <a:buFontTx/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AE"/>
          </a:p>
        </p:txBody>
      </p:sp>
      <p:sp>
        <p:nvSpPr>
          <p:cNvPr id="31" name="Picture Placeholder 23">
            <a:extLst>
              <a:ext uri="{FF2B5EF4-FFF2-40B4-BE49-F238E27FC236}">
                <a16:creationId xmlns:a16="http://schemas.microsoft.com/office/drawing/2014/main" id="{9A95F1DE-3CC5-C54C-E8B0-445BE19FB65C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6307415" y="1014026"/>
            <a:ext cx="2237534" cy="9258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D9D9D9"/>
            </a:solidFill>
          </a:ln>
        </p:spPr>
        <p:txBody>
          <a:bodyPr/>
          <a:lstStyle>
            <a:lvl1pPr marL="0" indent="0">
              <a:buFontTx/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AE"/>
          </a:p>
        </p:txBody>
      </p:sp>
      <p:sp>
        <p:nvSpPr>
          <p:cNvPr id="32" name="Picture Placeholder 24">
            <a:extLst>
              <a:ext uri="{FF2B5EF4-FFF2-40B4-BE49-F238E27FC236}">
                <a16:creationId xmlns:a16="http://schemas.microsoft.com/office/drawing/2014/main" id="{544CE1CF-50F1-A82C-30DC-0D4A0861E354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6307415" y="2301387"/>
            <a:ext cx="2237534" cy="9258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D9D9D9"/>
            </a:solidFill>
          </a:ln>
        </p:spPr>
        <p:txBody>
          <a:bodyPr/>
          <a:lstStyle>
            <a:lvl1pPr marL="0" indent="0">
              <a:buFontTx/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AE"/>
          </a:p>
        </p:txBody>
      </p:sp>
      <p:sp>
        <p:nvSpPr>
          <p:cNvPr id="33" name="Picture Placeholder 25">
            <a:extLst>
              <a:ext uri="{FF2B5EF4-FFF2-40B4-BE49-F238E27FC236}">
                <a16:creationId xmlns:a16="http://schemas.microsoft.com/office/drawing/2014/main" id="{2BE894F6-9F47-BE4E-8738-98D73D2E3A08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6307415" y="3588749"/>
            <a:ext cx="2237534" cy="9258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D9D9D9"/>
            </a:solidFill>
          </a:ln>
        </p:spPr>
        <p:txBody>
          <a:bodyPr/>
          <a:lstStyle>
            <a:lvl1pPr marL="0" indent="0">
              <a:buFontTx/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7505681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ople Slide 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03F4BEB-C95A-50C3-E41E-E205796CBD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93144"/>
            <a:ext cx="9144000" cy="315721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954CF32-BCFF-A5CD-146C-39DBA2505CD2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0ECB7E2-C4F0-0364-09F5-2DE2811B7073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2088313" y="1723428"/>
            <a:ext cx="2055062" cy="205506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324000" rIns="0" bIns="0" anchor="ctr">
            <a:noAutofit/>
          </a:bodyPr>
          <a:lstStyle>
            <a:lvl1pPr marL="0" indent="0" algn="ctr">
              <a:buNone/>
              <a:defRPr sz="600" b="0" spc="1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Insert Your Image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0AE12FE-83B2-8302-B8F5-E3CA873DE4E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57700" y="2382038"/>
            <a:ext cx="3205072" cy="22674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GB" sz="18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Add name 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0CF03159-C30C-31F7-6779-94D749A5DCD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457700" y="2761717"/>
            <a:ext cx="3205072" cy="15267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GB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Add job spec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8F7E44C-B5C9-8A3B-BF70-AC05CCECB06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57700" y="3072137"/>
            <a:ext cx="3205072" cy="242564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lang="en-GB" sz="1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Lorem Ipsum</a:t>
            </a:r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3EE39385-655D-5910-126E-EFE5128ADC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81DF53FF-9E45-3A0C-23D0-38912600F4F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426BBAE7-8852-3BDB-E2D5-83ED9116D4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1540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Slide 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urple and blue waves&#10;&#10;Description automatically generated">
            <a:extLst>
              <a:ext uri="{FF2B5EF4-FFF2-40B4-BE49-F238E27FC236}">
                <a16:creationId xmlns:a16="http://schemas.microsoft.com/office/drawing/2014/main" id="{40747FE5-8082-AA6A-100D-CE1DF2293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93144"/>
            <a:ext cx="9144000" cy="315721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1F5F7F4-3FE1-A652-0B09-E6EAA883F64D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0ECB7E2-C4F0-0364-09F5-2DE2811B7073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2088313" y="1723428"/>
            <a:ext cx="2055062" cy="205506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324000" rIns="0" bIns="0" anchor="ctr">
            <a:noAutofit/>
          </a:bodyPr>
          <a:lstStyle>
            <a:lvl1pPr marL="0" indent="0" algn="ctr">
              <a:buNone/>
              <a:defRPr sz="600" b="0" spc="1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Insert Your Image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0AE12FE-83B2-8302-B8F5-E3CA873DE4E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57700" y="2382038"/>
            <a:ext cx="3205072" cy="22674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GB" sz="18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name 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0CF03159-C30C-31F7-6779-94D749A5DCD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457700" y="2761717"/>
            <a:ext cx="3205072" cy="15267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GB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job spec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8F7E44C-B5C9-8A3B-BF70-AC05CCECB06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57700" y="3072137"/>
            <a:ext cx="3205072" cy="242564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lang="en-GB" sz="1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Lorem Ipsum</a:t>
            </a:r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3EE39385-655D-5910-126E-EFE5128ADC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81DF53FF-9E45-3A0C-23D0-38912600F4F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31B9EA11-A7B9-A2E6-03FC-1F3FC284F6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9380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ople Slide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44F39E-FB5F-EF76-C0D6-A1B42B31A4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83615"/>
            <a:ext cx="9144000" cy="315721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CAB7EEA-E7FE-CD88-73DB-37B2489B5535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0ECB7E2-C4F0-0364-09F5-2DE2811B7073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842684" y="2106574"/>
            <a:ext cx="1288770" cy="128877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324000" rIns="0" bIns="0" anchor="ctr">
            <a:noAutofit/>
          </a:bodyPr>
          <a:lstStyle>
            <a:lvl1pPr marL="0" indent="0" algn="ctr">
              <a:buNone/>
              <a:defRPr sz="600" b="0" spc="1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Insert Your Image He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C4A69BE-FC79-3EEB-12BF-C68C0DD2AA2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4987088" y="2106574"/>
            <a:ext cx="1288770" cy="128877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324000" rIns="0" bIns="0" anchor="ctr">
            <a:noAutofit/>
          </a:bodyPr>
          <a:lstStyle>
            <a:lvl1pPr marL="0" indent="0" algn="ctr">
              <a:buNone/>
              <a:defRPr sz="600" b="0" spc="1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Insert Your Image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0AE12FE-83B2-8302-B8F5-E3CA873DE4E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347354" y="2335124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name 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0CF03159-C30C-31F7-6779-94D749A5DCD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347354" y="2642959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GB" sz="1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job spec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8F7E44C-B5C9-8A3B-BF70-AC05CCECB06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47354" y="2946233"/>
            <a:ext cx="1824596" cy="21600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lang="en-GB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Lorem Ipsum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46795CD9-84DF-3A09-F741-E171B35E9C2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454836" y="2335124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name 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8E3AEBA-4F87-9F3C-A8CC-DFA149FA43B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454836" y="2642959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GB" sz="1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Add job spec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ABD2DC04-57A9-8388-59E4-791699961CC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454836" y="2946233"/>
            <a:ext cx="1824596" cy="21600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lang="en-GB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3EE39385-655D-5910-126E-EFE5128ADC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81DF53FF-9E45-3A0C-23D0-38912600F4F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E7F10EF-C089-F614-1E3D-7ADF98B049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7454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Slide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urple and blue waves&#10;&#10;Description automatically generated">
            <a:extLst>
              <a:ext uri="{FF2B5EF4-FFF2-40B4-BE49-F238E27FC236}">
                <a16:creationId xmlns:a16="http://schemas.microsoft.com/office/drawing/2014/main" id="{A57929C5-E52A-CC01-9CC5-73FADBA8E1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93144"/>
            <a:ext cx="9144000" cy="315721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725A0E8-E867-9FFA-6B4C-56ABC408911A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0ECB7E2-C4F0-0364-09F5-2DE2811B7073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842684" y="2106574"/>
            <a:ext cx="1288770" cy="128877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324000" rIns="0" bIns="0" anchor="ctr">
            <a:noAutofit/>
          </a:bodyPr>
          <a:lstStyle>
            <a:lvl1pPr marL="0" indent="0" algn="ctr">
              <a:buNone/>
              <a:defRPr sz="600" b="0" spc="1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Insert Your Image He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C4A69BE-FC79-3EEB-12BF-C68C0DD2AA2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4987088" y="2106574"/>
            <a:ext cx="1288770" cy="128877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324000" rIns="0" bIns="0" anchor="ctr">
            <a:noAutofit/>
          </a:bodyPr>
          <a:lstStyle>
            <a:lvl1pPr marL="0" indent="0" algn="ctr">
              <a:buNone/>
              <a:defRPr sz="600" b="0" spc="1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Insert Your Image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0AE12FE-83B2-8302-B8F5-E3CA873DE4E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347354" y="2335124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name 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0CF03159-C30C-31F7-6779-94D749A5DCD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347354" y="2642959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GB" sz="1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job spec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8F7E44C-B5C9-8A3B-BF70-AC05CCECB06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47354" y="2946233"/>
            <a:ext cx="1824596" cy="21600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lang="en-GB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46795CD9-84DF-3A09-F741-E171B35E9C2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454836" y="2335124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name 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8E3AEBA-4F87-9F3C-A8CC-DFA149FA43B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454836" y="2642959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GB" sz="1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job spec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ABD2DC04-57A9-8388-59E4-791699961CC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454836" y="2946233"/>
            <a:ext cx="1824596" cy="21600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lang="en-GB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3EE39385-655D-5910-126E-EFE5128ADC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81DF53FF-9E45-3A0C-23D0-38912600F4F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A7784D2-ABE8-C3BB-08F9-AE530D9863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9870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ople Slide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8EFCC57-C109-409F-D95D-193D9F6A45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99343"/>
            <a:ext cx="9144000" cy="315721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413CEEF-BA85-02BF-1384-1650847A43B1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0ECB7E2-C4F0-0364-09F5-2DE2811B7073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89771" y="1498880"/>
            <a:ext cx="1288770" cy="128877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324000" rIns="0" bIns="0" anchor="ctr">
            <a:noAutofit/>
          </a:bodyPr>
          <a:lstStyle>
            <a:lvl1pPr marL="0" indent="0" algn="ctr">
              <a:buNone/>
              <a:defRPr sz="600" b="0" spc="1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Insert Your Image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0AE12FE-83B2-8302-B8F5-E3CA873DE4E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1858" y="2914457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name 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0CF03159-C30C-31F7-6779-94D749A5DCD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21858" y="3158792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job spec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8F7E44C-B5C9-8A3B-BF70-AC05CCECB06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21858" y="3411266"/>
            <a:ext cx="1824596" cy="216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lang="en-GB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9E15901-1616-56C4-0BD8-493E3B4BF7CF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927614" y="1498880"/>
            <a:ext cx="1288770" cy="128877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324000" rIns="0" bIns="0" anchor="ctr">
            <a:noAutofit/>
          </a:bodyPr>
          <a:lstStyle>
            <a:lvl1pPr marL="0" indent="0" algn="ctr">
              <a:buNone/>
              <a:defRPr sz="600" b="0" spc="1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Insert Your Image Here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BD06140-B645-A4A2-D077-B48D7FC6319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659701" y="2914457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name 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007FB19-B44F-6F09-CBAB-5B5D0E8255A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659701" y="3158792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job spec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074C3BB7-159F-650C-4F3D-AF36F03F9C0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659701" y="3411266"/>
            <a:ext cx="1824596" cy="216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lang="en-GB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729708F7-92DF-6225-3158-2DEB00DB45C5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6765458" y="1498880"/>
            <a:ext cx="1288770" cy="128877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324000" rIns="0" bIns="0" anchor="ctr">
            <a:noAutofit/>
          </a:bodyPr>
          <a:lstStyle>
            <a:lvl1pPr marL="0" indent="0" algn="ctr">
              <a:buNone/>
              <a:defRPr sz="600" b="0" spc="1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Insert Your Image Her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E3B3F07E-2F86-B3B8-385F-40A45D94DD7D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497545" y="2914457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name 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C354ED1E-7101-A2C4-CF3C-C569CD7420B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497545" y="3158792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job spec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1B682A25-A605-111E-5576-DE0B27A095B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497545" y="3411266"/>
            <a:ext cx="1824596" cy="216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lang="en-GB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6D48D7-DCC6-D403-1F47-D56C0A5BCE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3532ED43-52E1-9743-DE58-FDB4B30191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D6405084-DAFE-D0D6-2CDE-82BAD79232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44005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Slide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urple and blue waves&#10;&#10;Description automatically generated">
            <a:extLst>
              <a:ext uri="{FF2B5EF4-FFF2-40B4-BE49-F238E27FC236}">
                <a16:creationId xmlns:a16="http://schemas.microsoft.com/office/drawing/2014/main" id="{322DDFF3-E416-B0A0-D29F-B0D5673A21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98983"/>
            <a:ext cx="9144000" cy="315721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8C25057-652F-AA1E-114A-0A38A57E47BF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0ECB7E2-C4F0-0364-09F5-2DE2811B7073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89771" y="1498880"/>
            <a:ext cx="1288770" cy="128877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324000" rIns="0" bIns="0" anchor="ctr">
            <a:noAutofit/>
          </a:bodyPr>
          <a:lstStyle>
            <a:lvl1pPr marL="0" indent="0" algn="ctr">
              <a:buNone/>
              <a:defRPr sz="600" b="0" spc="1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Insert Your Image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0AE12FE-83B2-8302-B8F5-E3CA873DE4E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1858" y="2914457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name 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0CF03159-C30C-31F7-6779-94D749A5DCD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21858" y="3158792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job spec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8F7E44C-B5C9-8A3B-BF70-AC05CCECB06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21858" y="3411266"/>
            <a:ext cx="1824596" cy="216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lang="en-GB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9E15901-1616-56C4-0BD8-493E3B4BF7CF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927614" y="1498880"/>
            <a:ext cx="1288770" cy="128877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324000" rIns="0" bIns="0" anchor="ctr">
            <a:noAutofit/>
          </a:bodyPr>
          <a:lstStyle>
            <a:lvl1pPr marL="0" indent="0" algn="ctr">
              <a:buNone/>
              <a:defRPr sz="600" b="0" spc="1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Insert Your Image Here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BD06140-B645-A4A2-D077-B48D7FC6319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659701" y="2914457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name 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007FB19-B44F-6F09-CBAB-5B5D0E8255A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659701" y="3158792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job spec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074C3BB7-159F-650C-4F3D-AF36F03F9C0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659701" y="3411266"/>
            <a:ext cx="1824596" cy="216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lang="en-GB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729708F7-92DF-6225-3158-2DEB00DB45C5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6765458" y="1498880"/>
            <a:ext cx="1288770" cy="128877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324000" rIns="0" bIns="0" anchor="ctr">
            <a:noAutofit/>
          </a:bodyPr>
          <a:lstStyle>
            <a:lvl1pPr marL="0" indent="0" algn="ctr">
              <a:buNone/>
              <a:defRPr sz="600" b="0" spc="1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Insert Your Image Her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E3B3F07E-2F86-B3B8-385F-40A45D94DD7D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497545" y="2914457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name 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C354ED1E-7101-A2C4-CF3C-C569CD7420B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497545" y="3158792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job spec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1B682A25-A605-111E-5576-DE0B27A095B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497545" y="3411266"/>
            <a:ext cx="1824596" cy="216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lang="en-GB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6D48D7-DCC6-D403-1F47-D56C0A5BCE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3532ED43-52E1-9743-DE58-FDB4B30191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9921BF80-E03F-AC2B-0F25-2BC2493682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22944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ople Slide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C8B7DB8-D46F-D1F8-C406-C9DD9749C2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90602"/>
            <a:ext cx="9144000" cy="315721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5E9C559-A360-FF08-11A2-A92921893C84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0ECB7E2-C4F0-0364-09F5-2DE2811B7073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08774" y="1604121"/>
            <a:ext cx="1078288" cy="107828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324000" rIns="0" bIns="0" anchor="ctr">
            <a:noAutofit/>
          </a:bodyPr>
          <a:lstStyle>
            <a:lvl1pPr marL="0" indent="0" algn="ctr">
              <a:buNone/>
              <a:defRPr sz="600" b="0" spc="1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Insert Your Image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0AE12FE-83B2-8302-B8F5-E3CA873DE4E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35620" y="2914457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name 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0CF03159-C30C-31F7-6779-94D749A5DCD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35620" y="3152442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job spec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8F7E44C-B5C9-8A3B-BF70-AC05CCECB06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35620" y="3398566"/>
            <a:ext cx="1824596" cy="216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lang="en-GB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941BA12-A0DD-4C25-35E5-77A79FE900DB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019607" y="1604121"/>
            <a:ext cx="1078288" cy="107828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324000" rIns="0" bIns="0" anchor="ctr">
            <a:noAutofit/>
          </a:bodyPr>
          <a:lstStyle>
            <a:lvl1pPr marL="0" indent="0" algn="ctr">
              <a:buNone/>
              <a:defRPr sz="600" b="0" spc="1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Insert Your Image Her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AA3FDFA-D1F1-91A2-A790-018CC50A6AE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646453" y="2914457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name 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8140FA1-CAEA-0C09-812A-679521CA4D1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646453" y="3152442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job spec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89191852-D74E-B8A7-48CF-1BF47AA2C51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646453" y="3398566"/>
            <a:ext cx="1824596" cy="216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lang="en-GB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A7FC7A3F-8F66-32C9-0AD8-9B428EDD8467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030440" y="1604121"/>
            <a:ext cx="1078288" cy="107828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324000" rIns="0" bIns="0" anchor="ctr">
            <a:noAutofit/>
          </a:bodyPr>
          <a:lstStyle>
            <a:lvl1pPr marL="0" indent="0" algn="ctr">
              <a:buNone/>
              <a:defRPr sz="600" b="0" spc="1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Insert Your Image Here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D3C04B21-0E9D-0B76-414B-F8A47FD80C0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657286" y="2914457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name 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4C1EAEA5-A79E-9613-08D4-46AC738889A8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657286" y="3152442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job spec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5CC217D1-D9C4-701E-BBF4-F6D5D0F1A23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657286" y="3398566"/>
            <a:ext cx="1824596" cy="216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lang="en-GB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2AD8CBCE-DD98-0D9D-DB17-5807FED65B3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7041274" y="1604121"/>
            <a:ext cx="1078288" cy="107828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324000" rIns="0" bIns="0" anchor="ctr">
            <a:noAutofit/>
          </a:bodyPr>
          <a:lstStyle>
            <a:lvl1pPr marL="0" indent="0" algn="ctr">
              <a:buNone/>
              <a:defRPr sz="600" b="0" spc="1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Insert Your Image Here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FEB77071-3A59-4530-1CB0-7AB6A67F90D2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668120" y="2914457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name 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77BB4E23-98D5-9A6A-150F-0BA818BF8FFD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68120" y="3152442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job spec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F7374B0F-41AD-08C2-05E5-AD1542B3C2D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668120" y="3398566"/>
            <a:ext cx="1824596" cy="216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lang="en-GB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5764CE62-C5A5-2A42-B08C-42BF7A2D4A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F347723F-8E39-71C3-71BE-2AE858E52E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79DAC1D5-0E03-CE70-02F8-5BEB45BFBA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92956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Slide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urple and blue waves&#10;&#10;Description automatically generated">
            <a:extLst>
              <a:ext uri="{FF2B5EF4-FFF2-40B4-BE49-F238E27FC236}">
                <a16:creationId xmlns:a16="http://schemas.microsoft.com/office/drawing/2014/main" id="{DCB50C24-FE1C-28E2-6029-DFF704FC91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98286"/>
            <a:ext cx="9144000" cy="315721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0BCE6498-2873-063E-CA0A-573EAC6FC341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0ECB7E2-C4F0-0364-09F5-2DE2811B7073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08774" y="1604121"/>
            <a:ext cx="1078288" cy="107828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324000" rIns="0" bIns="0" anchor="ctr">
            <a:noAutofit/>
          </a:bodyPr>
          <a:lstStyle>
            <a:lvl1pPr marL="0" indent="0" algn="ctr">
              <a:buNone/>
              <a:defRPr sz="600" b="0" spc="1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Insert Your Image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0AE12FE-83B2-8302-B8F5-E3CA873DE4E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35620" y="2914457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name 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0CF03159-C30C-31F7-6779-94D749A5DCD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35620" y="3152442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job spec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8F7E44C-B5C9-8A3B-BF70-AC05CCECB06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35620" y="3398566"/>
            <a:ext cx="1824596" cy="216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lang="en-GB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941BA12-A0DD-4C25-35E5-77A79FE900DB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019607" y="1604121"/>
            <a:ext cx="1078288" cy="107828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324000" rIns="0" bIns="0" anchor="ctr">
            <a:noAutofit/>
          </a:bodyPr>
          <a:lstStyle>
            <a:lvl1pPr marL="0" indent="0" algn="ctr">
              <a:buNone/>
              <a:defRPr sz="600" b="0" spc="1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Insert Your Image Her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AA3FDFA-D1F1-91A2-A790-018CC50A6AE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646453" y="2914457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name 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8140FA1-CAEA-0C09-812A-679521CA4D1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646453" y="3152442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job spec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89191852-D74E-B8A7-48CF-1BF47AA2C51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646453" y="3398566"/>
            <a:ext cx="1824596" cy="216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lang="en-GB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A7FC7A3F-8F66-32C9-0AD8-9B428EDD8467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030440" y="1604121"/>
            <a:ext cx="1078288" cy="107828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324000" rIns="0" bIns="0" anchor="ctr">
            <a:noAutofit/>
          </a:bodyPr>
          <a:lstStyle>
            <a:lvl1pPr marL="0" indent="0" algn="ctr">
              <a:buNone/>
              <a:defRPr sz="600" b="0" spc="1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Insert Your Image Here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D3C04B21-0E9D-0B76-414B-F8A47FD80C0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657286" y="2914457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name 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4C1EAEA5-A79E-9613-08D4-46AC738889A8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657286" y="3152442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job spec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5CC217D1-D9C4-701E-BBF4-F6D5D0F1A23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657286" y="3398566"/>
            <a:ext cx="1824596" cy="216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lang="en-GB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2AD8CBCE-DD98-0D9D-DB17-5807FED65B3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7041274" y="1604121"/>
            <a:ext cx="1078288" cy="107828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324000" rIns="0" bIns="0" anchor="ctr">
            <a:noAutofit/>
          </a:bodyPr>
          <a:lstStyle>
            <a:lvl1pPr marL="0" indent="0" algn="ctr">
              <a:buNone/>
              <a:defRPr sz="600" b="0" spc="1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Insert Your Image Here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FEB77071-3A59-4530-1CB0-7AB6A67F90D2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668120" y="2914457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name 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77BB4E23-98D5-9A6A-150F-0BA818BF8FFD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68120" y="3152442"/>
            <a:ext cx="1824596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job spec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F7374B0F-41AD-08C2-05E5-AD1542B3C2D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668120" y="3398566"/>
            <a:ext cx="1824596" cy="216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lang="en-GB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5764CE62-C5A5-2A42-B08C-42BF7A2D4A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F347723F-8E39-71C3-71BE-2AE858E52E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4909363-4CFE-E516-7993-66D19E6B73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48828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ople Slide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7B4F805-ADC8-5579-F759-6F58ADBF94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93144"/>
            <a:ext cx="9144000" cy="315721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8D4F97D-DFDD-6D74-674A-8B59943B6536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0ECB7E2-C4F0-0364-09F5-2DE2811B7073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826633" y="1676400"/>
            <a:ext cx="933730" cy="93373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324000" rIns="0" bIns="0" anchor="ctr">
            <a:noAutofit/>
          </a:bodyPr>
          <a:lstStyle>
            <a:lvl1pPr marL="0" indent="0" algn="ctr">
              <a:buNone/>
              <a:defRPr sz="600" b="0" spc="1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Insert Your Image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0AE12FE-83B2-8302-B8F5-E3CA873DE4E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5266" y="2914457"/>
            <a:ext cx="1336464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name 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0CF03159-C30C-31F7-6779-94D749A5DCD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266" y="3152442"/>
            <a:ext cx="1336464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job spec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8F7E44C-B5C9-8A3B-BF70-AC05CCECB06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266" y="3404916"/>
            <a:ext cx="1336464" cy="216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lang="en-GB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941BA12-A0DD-4C25-35E5-77A79FE900DB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2465884" y="1676400"/>
            <a:ext cx="933730" cy="93373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324000" rIns="0" bIns="0" anchor="ctr">
            <a:noAutofit/>
          </a:bodyPr>
          <a:lstStyle>
            <a:lvl1pPr marL="0" indent="0" algn="ctr">
              <a:buNone/>
              <a:defRPr sz="600" b="0" spc="1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Insert Your Image Her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AA3FDFA-D1F1-91A2-A790-018CC50A6AE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264517" y="2914457"/>
            <a:ext cx="1336464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name 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8140FA1-CAEA-0C09-812A-679521CA4D1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264517" y="3152442"/>
            <a:ext cx="1336464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job spec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89191852-D74E-B8A7-48CF-1BF47AA2C51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264517" y="3404916"/>
            <a:ext cx="1336464" cy="216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lang="en-GB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A7FC7A3F-8F66-32C9-0AD8-9B428EDD8467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4105135" y="1676400"/>
            <a:ext cx="933730" cy="93373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324000" rIns="0" bIns="0" anchor="ctr">
            <a:noAutofit/>
          </a:bodyPr>
          <a:lstStyle>
            <a:lvl1pPr marL="0" indent="0" algn="ctr">
              <a:buNone/>
              <a:defRPr sz="600" b="0" spc="1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Insert Your Image Here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D3C04B21-0E9D-0B76-414B-F8A47FD80C0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903768" y="2914457"/>
            <a:ext cx="1336464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name 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4C1EAEA5-A79E-9613-08D4-46AC738889A8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903768" y="3152442"/>
            <a:ext cx="1336464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job spec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5CC217D1-D9C4-701E-BBF4-F6D5D0F1A23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903768" y="3404916"/>
            <a:ext cx="1336464" cy="216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lang="en-GB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2AD8CBCE-DD98-0D9D-DB17-5807FED65B3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5744386" y="1676400"/>
            <a:ext cx="933730" cy="93373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324000" rIns="0" bIns="0" anchor="ctr">
            <a:noAutofit/>
          </a:bodyPr>
          <a:lstStyle>
            <a:lvl1pPr marL="0" indent="0" algn="ctr">
              <a:buNone/>
              <a:defRPr sz="600" b="0" spc="1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Insert Your Image Here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FEB77071-3A59-4530-1CB0-7AB6A67F90D2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543019" y="2914457"/>
            <a:ext cx="1336464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name 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77BB4E23-98D5-9A6A-150F-0BA818BF8FFD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543019" y="3152442"/>
            <a:ext cx="1336464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job spec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F7374B0F-41AD-08C2-05E5-AD1542B3C2D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543019" y="3404916"/>
            <a:ext cx="1336464" cy="216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lang="en-GB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78F6FF0-1C5A-104D-EC4F-845E51A92356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7383637" y="1676400"/>
            <a:ext cx="933730" cy="93373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324000" rIns="0" bIns="0" anchor="ctr">
            <a:noAutofit/>
          </a:bodyPr>
          <a:lstStyle>
            <a:lvl1pPr marL="0" indent="0" algn="ctr">
              <a:buNone/>
              <a:defRPr sz="600" b="0" spc="1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Insert Your Image Her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40E09B24-3D1D-FF1C-A665-93251652382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82270" y="2914457"/>
            <a:ext cx="1336464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name 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68B7E9F-59AF-0B23-A793-ADABA17040C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182270" y="3152442"/>
            <a:ext cx="1336464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job spec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130B9889-5B1B-E7E4-A906-455BC567E572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182270" y="3404916"/>
            <a:ext cx="1336464" cy="216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lang="en-GB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DC067779-95D6-C745-2719-22EB64AE3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372AE4FA-6E68-E0D6-2D93-2C4FAD49598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8E0C8424-A842-2C7E-D550-AA139CE0BB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14160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10">
            <a:extLst>
              <a:ext uri="{FF2B5EF4-FFF2-40B4-BE49-F238E27FC236}">
                <a16:creationId xmlns:a16="http://schemas.microsoft.com/office/drawing/2014/main" id="{A5116100-2ABE-B8DD-C9FC-2DA01747C1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200354" cy="51435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FD7CD44-ABAF-5F20-2D18-BC499549FBF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200354" cy="51435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B1601FF-E48A-9D65-EEF9-0F8CDCD4625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200354" cy="5143500"/>
          </a:xfrm>
          <a:prstGeom prst="rect">
            <a:avLst/>
          </a:prstGeom>
        </p:spPr>
      </p:pic>
      <p:sp>
        <p:nvSpPr>
          <p:cNvPr id="14" name="Title 9">
            <a:extLst>
              <a:ext uri="{FF2B5EF4-FFF2-40B4-BE49-F238E27FC236}">
                <a16:creationId xmlns:a16="http://schemas.microsoft.com/office/drawing/2014/main" id="{EBF58211-18B0-CA36-DA03-52FB2AC5CF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92039" y="1074498"/>
            <a:ext cx="4060825" cy="3399847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ext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15" name="Title 9">
            <a:extLst>
              <a:ext uri="{FF2B5EF4-FFF2-40B4-BE49-F238E27FC236}">
                <a16:creationId xmlns:a16="http://schemas.microsoft.com/office/drawing/2014/main" id="{2E4A8F29-1723-7BCD-E6DC-C5BC9823FF18}"/>
              </a:ext>
            </a:extLst>
          </p:cNvPr>
          <p:cNvSpPr txBox="1">
            <a:spLocks/>
          </p:cNvSpPr>
          <p:nvPr userDrawn="1"/>
        </p:nvSpPr>
        <p:spPr>
          <a:xfrm>
            <a:off x="4692039" y="470819"/>
            <a:ext cx="4060825" cy="390316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 algn="r" defTabSz="914400" rtl="1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200" kern="120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indent="0">
              <a:buNone/>
            </a:pPr>
            <a:r>
              <a:rPr lang="en-US" sz="1600" b="1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2" name="object 37">
            <a:extLst>
              <a:ext uri="{FF2B5EF4-FFF2-40B4-BE49-F238E27FC236}">
                <a16:creationId xmlns:a16="http://schemas.microsoft.com/office/drawing/2014/main" id="{E798CEEC-6682-BD9D-2C41-7AB5ED4B2F84}"/>
              </a:ext>
            </a:extLst>
          </p:cNvPr>
          <p:cNvSpPr txBox="1"/>
          <p:nvPr userDrawn="1"/>
        </p:nvSpPr>
        <p:spPr>
          <a:xfrm>
            <a:off x="8374682" y="4786131"/>
            <a:ext cx="394210" cy="1751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6" algn="r">
              <a:lnSpc>
                <a:spcPts val="1616"/>
              </a:lnSpc>
            </a:pPr>
            <a:fld id="{4FC69F23-2E07-414A-8684-A0744552B4DF}" type="slidenum">
              <a:rPr lang="en-GB" sz="700" spc="5">
                <a:solidFill>
                  <a:schemeClr val="bg1"/>
                </a:solidFill>
                <a:latin typeface="Arial"/>
                <a:cs typeface="Arial"/>
              </a:rPr>
              <a:pPr marL="5776" algn="r">
                <a:lnSpc>
                  <a:spcPts val="1616"/>
                </a:lnSpc>
              </a:pPr>
              <a:t>‹#›</a:t>
            </a:fld>
            <a:endParaRPr sz="7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B138329-F423-7F31-EA2B-60B3F8C3BE3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702" y="0"/>
            <a:ext cx="2595524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424870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Slide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urple and blue waves&#10;&#10;Description automatically generated">
            <a:extLst>
              <a:ext uri="{FF2B5EF4-FFF2-40B4-BE49-F238E27FC236}">
                <a16:creationId xmlns:a16="http://schemas.microsoft.com/office/drawing/2014/main" id="{9ED721E5-2802-D047-2BCB-DA9C9BFB78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98286"/>
            <a:ext cx="9144000" cy="315721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0923D4F-2C09-90A7-9876-C3BAF8EF96B1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0ECB7E2-C4F0-0364-09F5-2DE2811B7073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826633" y="1676400"/>
            <a:ext cx="933730" cy="93373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324000" rIns="0" bIns="0" anchor="ctr">
            <a:noAutofit/>
          </a:bodyPr>
          <a:lstStyle>
            <a:lvl1pPr marL="0" indent="0" algn="ctr">
              <a:buNone/>
              <a:defRPr sz="600" b="0" spc="1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Insert Your Image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0AE12FE-83B2-8302-B8F5-E3CA873DE4E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5266" y="2914457"/>
            <a:ext cx="1336464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name 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0CF03159-C30C-31F7-6779-94D749A5DCD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266" y="3152442"/>
            <a:ext cx="1336464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job spec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8F7E44C-B5C9-8A3B-BF70-AC05CCECB06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266" y="3404916"/>
            <a:ext cx="1336464" cy="216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lang="en-GB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941BA12-A0DD-4C25-35E5-77A79FE900DB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2465884" y="1676400"/>
            <a:ext cx="933730" cy="93373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324000" rIns="0" bIns="0" anchor="ctr">
            <a:noAutofit/>
          </a:bodyPr>
          <a:lstStyle>
            <a:lvl1pPr marL="0" indent="0" algn="ctr">
              <a:buNone/>
              <a:defRPr sz="600" b="0" spc="1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Insert Your Image Her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AA3FDFA-D1F1-91A2-A790-018CC50A6AE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264517" y="2914457"/>
            <a:ext cx="1336464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name 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8140FA1-CAEA-0C09-812A-679521CA4D1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264517" y="3152442"/>
            <a:ext cx="1336464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job spec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89191852-D74E-B8A7-48CF-1BF47AA2C51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264517" y="3404916"/>
            <a:ext cx="1336464" cy="216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lang="en-GB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A7FC7A3F-8F66-32C9-0AD8-9B428EDD8467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4105135" y="1676400"/>
            <a:ext cx="933730" cy="93373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324000" rIns="0" bIns="0" anchor="ctr">
            <a:noAutofit/>
          </a:bodyPr>
          <a:lstStyle>
            <a:lvl1pPr marL="0" indent="0" algn="ctr">
              <a:buNone/>
              <a:defRPr sz="600" b="0" spc="1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Insert Your Image Here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D3C04B21-0E9D-0B76-414B-F8A47FD80C0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903768" y="2914457"/>
            <a:ext cx="1336464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name 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4C1EAEA5-A79E-9613-08D4-46AC738889A8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903768" y="3152442"/>
            <a:ext cx="1336464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job spec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5CC217D1-D9C4-701E-BBF4-F6D5D0F1A23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903768" y="3404916"/>
            <a:ext cx="1336464" cy="216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lang="en-GB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2AD8CBCE-DD98-0D9D-DB17-5807FED65B3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5744386" y="1676400"/>
            <a:ext cx="933730" cy="93373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324000" rIns="0" bIns="0" anchor="ctr">
            <a:noAutofit/>
          </a:bodyPr>
          <a:lstStyle>
            <a:lvl1pPr marL="0" indent="0" algn="ctr">
              <a:buNone/>
              <a:defRPr sz="600" b="0" spc="1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Insert Your Image Here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FEB77071-3A59-4530-1CB0-7AB6A67F90D2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543019" y="2914457"/>
            <a:ext cx="1336464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name 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77BB4E23-98D5-9A6A-150F-0BA818BF8FFD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543019" y="3152442"/>
            <a:ext cx="1336464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job spec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F7374B0F-41AD-08C2-05E5-AD1542B3C2D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543019" y="3404916"/>
            <a:ext cx="1336464" cy="216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lang="en-GB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78F6FF0-1C5A-104D-EC4F-845E51A92356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7383637" y="1676400"/>
            <a:ext cx="933730" cy="93373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324000" rIns="0" bIns="0" anchor="ctr">
            <a:noAutofit/>
          </a:bodyPr>
          <a:lstStyle>
            <a:lvl1pPr marL="0" indent="0" algn="ctr">
              <a:buNone/>
              <a:defRPr sz="600" b="0" spc="1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Insert Your Image Her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40E09B24-3D1D-FF1C-A665-93251652382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82270" y="2914457"/>
            <a:ext cx="1336464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name 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68B7E9F-59AF-0B23-A793-ADABA17040C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182270" y="3152442"/>
            <a:ext cx="1336464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Add job spec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130B9889-5B1B-E7E4-A906-455BC567E572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182270" y="3404916"/>
            <a:ext cx="1336464" cy="216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lang="en-GB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2pPr>
            <a:lvl3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3pPr>
            <a:lvl4pPr>
              <a:defRPr lang="en-GB" sz="1200" b="1" kern="1200" dirty="0" smtClean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b="1" kern="1200" dirty="0">
                <a:solidFill>
                  <a:srgbClr val="6300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DC067779-95D6-C745-2719-22EB64AE3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372AE4FA-6E68-E0D6-2D93-2C4FAD49598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FC945B4-2BD9-03BB-8B54-B53C313FAA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13561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x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B85CB71-3069-02C9-4A13-94BD6D4BD6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98941"/>
            <a:ext cx="9144000" cy="315721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59DAEA0-BF0D-917A-6376-614769D35D2F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C6E506D-5474-768B-60EA-CB0C37C63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BBC8956C-9740-C7E1-FEBB-5E4F8450C2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1D0602-B44D-E7C4-4D1F-7F521DAF4C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FED1D0B4-6882-6872-9F41-8709BF4E9787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365049" y="1142999"/>
            <a:ext cx="8429323" cy="3484411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endParaRPr lang="en-AE" dirty="0"/>
          </a:p>
        </p:txBody>
      </p:sp>
    </p:spTree>
    <p:extLst>
      <p:ext uri="{BB962C8B-B14F-4D97-AF65-F5344CB8AC3E}">
        <p14:creationId xmlns:p14="http://schemas.microsoft.com/office/powerpoint/2010/main" val="981648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orient="horz" pos="1620" userDrawn="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x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urple and blue waves&#10;&#10;Description automatically generated">
            <a:extLst>
              <a:ext uri="{FF2B5EF4-FFF2-40B4-BE49-F238E27FC236}">
                <a16:creationId xmlns:a16="http://schemas.microsoft.com/office/drawing/2014/main" id="{92187FCC-2608-0DE2-6EC8-C5CC03B0AE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98941"/>
            <a:ext cx="9144000" cy="315721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B0163F0-3389-8591-257C-14A5A259CF09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C6E506D-5474-768B-60EA-CB0C37C63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BBC8956C-9740-C7E1-FEBB-5E4F8450C2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5F34B820-470F-4A87-D0F4-E77EE66C37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3" name="Content Placeholder 7">
            <a:extLst>
              <a:ext uri="{FF2B5EF4-FFF2-40B4-BE49-F238E27FC236}">
                <a16:creationId xmlns:a16="http://schemas.microsoft.com/office/drawing/2014/main" id="{9A47BD35-E356-9960-B257-9ACF92415D5C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365049" y="1142999"/>
            <a:ext cx="8429323" cy="3484411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28118056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x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113ECCF-508E-EAFD-53EF-989A5D4217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98941"/>
            <a:ext cx="9144000" cy="315721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3E4AC2D-8E32-501C-47EA-67D323A47EBE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C6E506D-5474-768B-60EA-CB0C37C63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BBC8956C-9740-C7E1-FEBB-5E4F8450C2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F72B94-CE72-24FB-40C3-60ED0E52B2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690D6454-62BC-6073-ACF1-4ABADD7FC196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365049" y="1142999"/>
            <a:ext cx="8429323" cy="3484411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827257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x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urple and blue waves&#10;&#10;Description automatically generated">
            <a:extLst>
              <a:ext uri="{FF2B5EF4-FFF2-40B4-BE49-F238E27FC236}">
                <a16:creationId xmlns:a16="http://schemas.microsoft.com/office/drawing/2014/main" id="{67DCC0CA-C638-AD13-ED43-34BDDBB7C0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93144"/>
            <a:ext cx="9144000" cy="315721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0CBAB07-F262-0928-E2CB-5E540E3DB2AA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C6E506D-5474-768B-60EA-CB0C37C63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BBC8956C-9740-C7E1-FEBB-5E4F8450C2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5A0E6C-B5D3-C043-C76C-9FE593A06D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5259A1B9-3C86-53A6-4833-E810D9E078CE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365049" y="1142999"/>
            <a:ext cx="8429323" cy="3484411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8337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x1 + Content x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D05D63E-C38A-D118-2FAB-4FC58729BE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143000"/>
            <a:ext cx="9144000" cy="3157211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ECD59F0-40F9-F895-A94B-E63F5DE6A5F8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F5581CB-2394-2B36-BAC2-7EA2DBCB9D9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88842" y="1009649"/>
            <a:ext cx="4204637" cy="3543301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B35560E5-06DE-17CE-BE80-29A6524C58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63E4FA8B-40B5-8D76-11BB-4C0226026D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39DD1269-C526-1C3A-4747-1D355FEF95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EC671D8-0CFA-2B93-B980-3DD14B8224AC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95300" y="1143000"/>
            <a:ext cx="3821113" cy="3348038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endParaRPr lang="en-AE" dirty="0"/>
          </a:p>
        </p:txBody>
      </p:sp>
    </p:spTree>
    <p:extLst>
      <p:ext uri="{BB962C8B-B14F-4D97-AF65-F5344CB8AC3E}">
        <p14:creationId xmlns:p14="http://schemas.microsoft.com/office/powerpoint/2010/main" val="6450128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x1 + Content x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urple and blue waves&#10;&#10;Description automatically generated">
            <a:extLst>
              <a:ext uri="{FF2B5EF4-FFF2-40B4-BE49-F238E27FC236}">
                <a16:creationId xmlns:a16="http://schemas.microsoft.com/office/drawing/2014/main" id="{3297F5D2-2A63-0047-136E-652AF1F20B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93144"/>
            <a:ext cx="9144000" cy="3157212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4C3D0AE-3DDF-5204-4289-B780ACA43931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F5581CB-2394-2B36-BAC2-7EA2DBCB9D9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88842" y="1009649"/>
            <a:ext cx="4204637" cy="3543301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B35560E5-06DE-17CE-BE80-29A6524C58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63E4FA8B-40B5-8D76-11BB-4C0226026D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9C4B8052-2A51-F6E6-13EC-D1C1BF4228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925DA66-674A-71DD-608F-DCD3C0F77A07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95300" y="1143000"/>
            <a:ext cx="3821113" cy="3348038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8348057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x1 + Content x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454107-1871-7307-8CD0-E13850934B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99692"/>
            <a:ext cx="9144000" cy="315721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36605BA-6F1A-27EE-F50F-8CDBD781B103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F5581CB-2394-2B36-BAC2-7EA2DBCB9D9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88842" y="1009649"/>
            <a:ext cx="4204637" cy="3543301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B35560E5-06DE-17CE-BE80-29A6524C58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63E4FA8B-40B5-8D76-11BB-4C0226026D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B813B932-ECDE-57BC-975A-687A205F3B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D035637-B611-4619-9C55-E3C4874C441F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95300" y="1143000"/>
            <a:ext cx="3821113" cy="3348038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4797514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x1 + Content x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urple and blue waves&#10;&#10;Description automatically generated">
            <a:extLst>
              <a:ext uri="{FF2B5EF4-FFF2-40B4-BE49-F238E27FC236}">
                <a16:creationId xmlns:a16="http://schemas.microsoft.com/office/drawing/2014/main" id="{EB054806-76A2-8903-BDBC-3C7BA327B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01626"/>
            <a:ext cx="9144000" cy="3157212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47ABE41-C988-CCA3-710D-BA8621BA0F14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F5581CB-2394-2B36-BAC2-7EA2DBCB9D9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88842" y="1009649"/>
            <a:ext cx="4204637" cy="3543301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B35560E5-06DE-17CE-BE80-29A6524C58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63E4FA8B-40B5-8D76-11BB-4C0226026D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A0773706-B651-7EF7-38F5-D508149BE8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50CC7965-F33C-0F08-8118-21C6C04C28A2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95300" y="1143000"/>
            <a:ext cx="3821113" cy="3348038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2058907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orient="horz" pos="1620" userDrawn="1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x2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86ED0F1-CD30-A28C-0DD4-0F73A5E7E2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93144"/>
            <a:ext cx="9144000" cy="315721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06992FF-2481-E6C2-A4FE-DF0C966F4A3F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FEB4B69D-27A9-10F4-38D9-91C9D65CCD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0B661B49-55D9-0E0B-8560-6E1652FC93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11ADCDC0-DA56-3AC1-0150-089939CCB8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14F2E7A-6B31-E8B1-3F92-BCFC99C173E6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95300" y="1143000"/>
            <a:ext cx="3821113" cy="3348038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endParaRPr lang="en-AE" dirty="0"/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EA5FF840-AFF2-5FE8-3488-640744324FD2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4801829" y="1143000"/>
            <a:ext cx="3821113" cy="3348038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2050224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orient="horz" pos="162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481D545-7CAE-87A8-D012-46694A31DE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03279"/>
            <a:ext cx="9144000" cy="3157211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CCC6BF8-2CC8-6CE8-B42F-770F0E4E247C}"/>
              </a:ext>
            </a:extLst>
          </p:cNvPr>
          <p:cNvSpPr/>
          <p:nvPr userDrawn="1"/>
        </p:nvSpPr>
        <p:spPr>
          <a:xfrm>
            <a:off x="418057" y="795077"/>
            <a:ext cx="8310313" cy="3977685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623DA83-C050-5D63-C96F-B1291F4B8F0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C346A663-A323-1181-7039-1A2BC94E29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46BFD32-6B79-E1EF-55CB-9BDEBDAA5F4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4591" y="1009650"/>
            <a:ext cx="8430160" cy="354330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F9C91B1-AFC4-7DB9-D557-386C4009B0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56266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x2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urple and blue waves&#10;&#10;Description automatically generated">
            <a:extLst>
              <a:ext uri="{FF2B5EF4-FFF2-40B4-BE49-F238E27FC236}">
                <a16:creationId xmlns:a16="http://schemas.microsoft.com/office/drawing/2014/main" id="{A69CD12E-11A4-96BC-A256-B35F6DE397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93144"/>
            <a:ext cx="9144000" cy="3157212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EFCD829-5F98-3409-BD68-3021B6703C6E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FEB4B69D-27A9-10F4-38D9-91C9D65CCD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0B661B49-55D9-0E0B-8560-6E1652FC93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1AEDFDD8-49A1-37B3-9D15-CE74210C03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3514197-A897-4751-CBDA-C2B9A016F96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95300" y="1143000"/>
            <a:ext cx="3821113" cy="3348038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endParaRPr lang="en-AE"/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C0877DFB-2DC1-A0FD-DB03-7EC7E2D6D47B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4801829" y="1143000"/>
            <a:ext cx="3821113" cy="3348038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919464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x2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6D9DC0A-E3D6-D2FC-B130-6103029873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99786"/>
            <a:ext cx="9144000" cy="315721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46957A38-8C76-E88D-0782-C29F2FD5A74C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FEB4B69D-27A9-10F4-38D9-91C9D65CCD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0B661B49-55D9-0E0B-8560-6E1652FC93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007DE3-CEA3-AB13-E43E-FFCE3CC6A9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27BCBE45-AB51-8F2E-76C9-F6E63E07AE2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95300" y="1143000"/>
            <a:ext cx="3821113" cy="3348038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endParaRPr lang="en-AE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1C2302C-126A-2327-4ADB-59792B023296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4801829" y="1143000"/>
            <a:ext cx="3821113" cy="3348038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795711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orient="horz" pos="1620" userDrawn="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x2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urple and blue waves&#10;&#10;Description automatically generated">
            <a:extLst>
              <a:ext uri="{FF2B5EF4-FFF2-40B4-BE49-F238E27FC236}">
                <a16:creationId xmlns:a16="http://schemas.microsoft.com/office/drawing/2014/main" id="{F5DF93DD-B1A2-A1AE-85C9-87C403112F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96669"/>
            <a:ext cx="9144000" cy="315721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1C2978B-F97B-3294-F9DD-D1D7FCBF3916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FEB4B69D-27A9-10F4-38D9-91C9D65CCD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0B661B49-55D9-0E0B-8560-6E1652FC93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3DA7A5C-AF43-917D-A90F-3F9B9530B4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926EC3BC-BF8F-2972-0418-5E8707022E13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95300" y="1143000"/>
            <a:ext cx="3821113" cy="3348038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endParaRPr lang="en-AE"/>
          </a:p>
        </p:txBody>
      </p:sp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45B93A16-28DE-3C80-C89D-6A40BA762E7F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4801829" y="1143000"/>
            <a:ext cx="3821113" cy="3348038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2298013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x1 + Chart x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74813DB-D4C3-24AF-BCD9-21BE61A783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98286"/>
            <a:ext cx="9144000" cy="315721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4AE37C67-D680-AF61-CED3-EE0D15285F56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EE2ACF6-E8B6-D336-F0CC-A31B3B61CE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51964FA-82D5-7F15-398A-1B024698CC1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2DFC72F-9A52-6C53-9CEF-5A5A34D20EF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65049" y="1009650"/>
            <a:ext cx="8403843" cy="186878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8B95CB00-C16F-2B49-EB24-8A91234205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2" name="Content Placeholder 4">
            <a:extLst>
              <a:ext uri="{FF2B5EF4-FFF2-40B4-BE49-F238E27FC236}">
                <a16:creationId xmlns:a16="http://schemas.microsoft.com/office/drawing/2014/main" id="{04CAA568-88D3-52F3-5A6D-7AE96D6795B5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98475" y="1299882"/>
            <a:ext cx="8137525" cy="3207031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AE" dirty="0"/>
          </a:p>
        </p:txBody>
      </p:sp>
    </p:spTree>
    <p:extLst>
      <p:ext uri="{BB962C8B-B14F-4D97-AF65-F5344CB8AC3E}">
        <p14:creationId xmlns:p14="http://schemas.microsoft.com/office/powerpoint/2010/main" val="536506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orient="horz" pos="1620" userDrawn="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x1 + Chart x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urple and blue waves&#10;&#10;Description automatically generated">
            <a:extLst>
              <a:ext uri="{FF2B5EF4-FFF2-40B4-BE49-F238E27FC236}">
                <a16:creationId xmlns:a16="http://schemas.microsoft.com/office/drawing/2014/main" id="{6B2042A9-1AF7-F013-EB71-C0AC533979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87829"/>
            <a:ext cx="9144000" cy="3157212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9F3C2B2-D606-B749-E178-51CE5DDC16E6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EE2ACF6-E8B6-D336-F0CC-A31B3B61CE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51964FA-82D5-7F15-398A-1B024698CC1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2DFC72F-9A52-6C53-9CEF-5A5A34D20EF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65049" y="1009650"/>
            <a:ext cx="8403843" cy="186878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A208A127-30FF-AAB3-253F-40EB943FB5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2" name="Content Placeholder 4">
            <a:extLst>
              <a:ext uri="{FF2B5EF4-FFF2-40B4-BE49-F238E27FC236}">
                <a16:creationId xmlns:a16="http://schemas.microsoft.com/office/drawing/2014/main" id="{666D62EF-AF94-4E8A-F9C2-EDB2D0602E39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98475" y="1299882"/>
            <a:ext cx="8137525" cy="3207031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AE" dirty="0"/>
          </a:p>
        </p:txBody>
      </p:sp>
    </p:spTree>
    <p:extLst>
      <p:ext uri="{BB962C8B-B14F-4D97-AF65-F5344CB8AC3E}">
        <p14:creationId xmlns:p14="http://schemas.microsoft.com/office/powerpoint/2010/main" val="13536402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x1 + Chart x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1F1CEE3-5FAD-D4B6-4163-67AC25E936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03197"/>
            <a:ext cx="9144000" cy="315721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6BEE260-8339-C62E-7003-0B4FE649E6C2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245E09-D7F7-F134-8565-4DF82C2D879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65049" y="1009650"/>
            <a:ext cx="8403843" cy="186878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EE2ACF6-E8B6-D336-F0CC-A31B3B61CE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51964FA-82D5-7F15-398A-1B024698CC1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0F8C09-BEEC-3475-B34C-121AC827D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4" name="Content Placeholder 4">
            <a:extLst>
              <a:ext uri="{FF2B5EF4-FFF2-40B4-BE49-F238E27FC236}">
                <a16:creationId xmlns:a16="http://schemas.microsoft.com/office/drawing/2014/main" id="{03FC6FDF-817A-0A02-EC5E-8FED6816C32C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98475" y="1299882"/>
            <a:ext cx="8137525" cy="3207031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AE" dirty="0"/>
          </a:p>
        </p:txBody>
      </p:sp>
    </p:spTree>
    <p:extLst>
      <p:ext uri="{BB962C8B-B14F-4D97-AF65-F5344CB8AC3E}">
        <p14:creationId xmlns:p14="http://schemas.microsoft.com/office/powerpoint/2010/main" val="3233267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orient="horz" pos="1620" userDrawn="1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x1 + Chart x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urple and blue waves&#10;&#10;Description automatically generated">
            <a:extLst>
              <a:ext uri="{FF2B5EF4-FFF2-40B4-BE49-F238E27FC236}">
                <a16:creationId xmlns:a16="http://schemas.microsoft.com/office/drawing/2014/main" id="{DFC932BA-EA84-7EB1-59B7-060A732E1A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98286"/>
            <a:ext cx="9144000" cy="315721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BA3434E-1DEB-592A-F47D-E444558BC158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245E09-D7F7-F134-8565-4DF82C2D879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65049" y="1009650"/>
            <a:ext cx="8403843" cy="186878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EE2ACF6-E8B6-D336-F0CC-A31B3B61CE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51964FA-82D5-7F15-398A-1B024698CC1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EF9239-DED0-DBD3-8C52-1DF29BCA64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4" name="Content Placeholder 4">
            <a:extLst>
              <a:ext uri="{FF2B5EF4-FFF2-40B4-BE49-F238E27FC236}">
                <a16:creationId xmlns:a16="http://schemas.microsoft.com/office/drawing/2014/main" id="{F5E70F55-5A14-A540-0A7A-5E3ED1386DE5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98475" y="1299882"/>
            <a:ext cx="8137525" cy="3207031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AE" dirty="0"/>
          </a:p>
        </p:txBody>
      </p:sp>
    </p:spTree>
    <p:extLst>
      <p:ext uri="{BB962C8B-B14F-4D97-AF65-F5344CB8AC3E}">
        <p14:creationId xmlns:p14="http://schemas.microsoft.com/office/powerpoint/2010/main" val="673547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orient="horz" pos="1620" userDrawn="1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x1 + Header x1 + Content x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AA95680-8C13-B5E2-1293-BF20B5DE20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98286"/>
            <a:ext cx="9144000" cy="315721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F8F19EA-BF9C-EA7B-6821-7AD98982C741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9C718A-9A65-E766-0E75-A0B0A07968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96EE99A6-E46E-A792-422E-C76C555F9D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702FD6E0-F50E-B438-B10D-1B2F8DF517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643CEF7-6D97-A926-DFBC-6B523DCDE321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95300" y="1143000"/>
            <a:ext cx="3821113" cy="3348038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</a:lstStyle>
          <a:p>
            <a:pPr lvl="0"/>
            <a:endParaRPr lang="en-AE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7B1A0C4-7FFB-4BAA-816A-0A74BDD54A3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08751" y="1268506"/>
            <a:ext cx="4086000" cy="3222532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524A33A-0DBA-5E09-3F69-D50DF3103A8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08751" y="995326"/>
            <a:ext cx="4086000" cy="186878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1504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orient="horz" pos="1620" userDrawn="1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x1 + Header x1 + Content x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urple and blue waves&#10;&#10;Description automatically generated">
            <a:extLst>
              <a:ext uri="{FF2B5EF4-FFF2-40B4-BE49-F238E27FC236}">
                <a16:creationId xmlns:a16="http://schemas.microsoft.com/office/drawing/2014/main" id="{DCBCCF25-B8E4-712D-CE21-122F476998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98941"/>
            <a:ext cx="9144000" cy="315721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CF379BB8-143E-2094-87A2-35B46E3E35E7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9C718A-9A65-E766-0E75-A0B0A07968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96EE99A6-E46E-A792-422E-C76C555F9D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AFE52F28-1BD2-E327-7E7E-D4F6FE5196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5A2E54DE-33A9-A409-E841-3DBCD74E496E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95300" y="1143000"/>
            <a:ext cx="3821113" cy="3348038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</a:lstStyle>
          <a:p>
            <a:pPr lvl="0"/>
            <a:endParaRPr lang="en-AE" dirty="0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5F960E4B-A7C3-4717-E747-15F625556D7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08751" y="1268506"/>
            <a:ext cx="4086000" cy="3222532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115360B-F025-DFD4-A404-E496764A81B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08751" y="995326"/>
            <a:ext cx="4086000" cy="186878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27769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x1 + Header x1 + Content x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7196AE5-70F4-7685-A741-9236DA5E6A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98941"/>
            <a:ext cx="9144000" cy="315721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AD20D9D-3A45-7F56-43E9-A5564D6516CE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9C718A-9A65-E766-0E75-A0B0A07968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96EE99A6-E46E-A792-422E-C76C555F9D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125BE4F2-8ED0-75EF-2816-4AA51AF9CE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BDC707EC-30C7-F0D5-94CA-014E0A891A24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495300" y="1143000"/>
            <a:ext cx="3821113" cy="3348038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</a:lstStyle>
          <a:p>
            <a:pPr lvl="0"/>
            <a:endParaRPr lang="en-AE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F890517-E003-D18A-54C1-4CCD0C780D0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08751" y="1268506"/>
            <a:ext cx="4086000" cy="3222532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2751551-6963-6BDB-83EE-9F68A32FB2A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08751" y="995326"/>
            <a:ext cx="4086000" cy="186878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2275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orient="horz" pos="162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urple and blue waves&#10;&#10;Description automatically generated">
            <a:extLst>
              <a:ext uri="{FF2B5EF4-FFF2-40B4-BE49-F238E27FC236}">
                <a16:creationId xmlns:a16="http://schemas.microsoft.com/office/drawing/2014/main" id="{95154CF6-71D8-2774-A58D-BB43620C0F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03278"/>
            <a:ext cx="9144000" cy="315721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CF5005C-D082-5A7F-DFA6-0C397D1548CF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CA86D9-A2A4-33F1-9F7E-C0D7BA249E5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4591" y="1009650"/>
            <a:ext cx="8430160" cy="354330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623DA83-C050-5D63-C96F-B1291F4B8F0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C346A663-A323-1181-7039-1A2BC94E29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45D6346E-2988-6C54-14D0-349FF52DEE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06683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x1 + Header x1 + Content x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urple and blue waves&#10;&#10;Description automatically generated">
            <a:extLst>
              <a:ext uri="{FF2B5EF4-FFF2-40B4-BE49-F238E27FC236}">
                <a16:creationId xmlns:a16="http://schemas.microsoft.com/office/drawing/2014/main" id="{8F21787B-5106-5060-452E-9F52499F7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98941"/>
            <a:ext cx="9144000" cy="315721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7E81AF3-8C24-FC8F-043D-340C9C7359A7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9C718A-9A65-E766-0E75-A0B0A07968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96EE99A6-E46E-A792-422E-C76C555F9D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F3E68592-28E7-AE1B-B12C-6D96A32599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433577C2-FB62-CB46-D342-B953A12ED541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495300" y="1143000"/>
            <a:ext cx="3821113" cy="3348038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</a:lstStyle>
          <a:p>
            <a:pPr lvl="0"/>
            <a:endParaRPr lang="en-AE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F391688-D17E-DD6F-9BBE-03C300A9AFB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08751" y="1268506"/>
            <a:ext cx="4086000" cy="3222532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C8CAB27-038D-A952-B95C-35E40818ECA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08751" y="995326"/>
            <a:ext cx="4086000" cy="186878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34256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481D545-7CAE-87A8-D012-46694A31DE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03279"/>
            <a:ext cx="9144000" cy="3157211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CCC6BF8-2CC8-6CE8-B42F-770F0E4E247C}"/>
              </a:ext>
            </a:extLst>
          </p:cNvPr>
          <p:cNvSpPr/>
          <p:nvPr userDrawn="1"/>
        </p:nvSpPr>
        <p:spPr>
          <a:xfrm>
            <a:off x="418057" y="795077"/>
            <a:ext cx="8310313" cy="3977685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623DA83-C050-5D63-C96F-B1291F4B8F0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C346A663-A323-1181-7039-1A2BC94E29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46BFD32-6B79-E1EF-55CB-9BDEBDAA5F4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4591" y="1009650"/>
            <a:ext cx="8430160" cy="354330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F9C91B1-AFC4-7DB9-D557-386C4009B0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8967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urple and blue waves&#10;&#10;Description automatically generated">
            <a:extLst>
              <a:ext uri="{FF2B5EF4-FFF2-40B4-BE49-F238E27FC236}">
                <a16:creationId xmlns:a16="http://schemas.microsoft.com/office/drawing/2014/main" id="{95154CF6-71D8-2774-A58D-BB43620C0F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03278"/>
            <a:ext cx="9144000" cy="315721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CF5005C-D082-5A7F-DFA6-0C397D1548CF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CA86D9-A2A4-33F1-9F7E-C0D7BA249E5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4591" y="1009650"/>
            <a:ext cx="8430160" cy="354330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623DA83-C050-5D63-C96F-B1291F4B8F0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C346A663-A323-1181-7039-1A2BC94E29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45D6346E-2988-6C54-14D0-349FF52DEE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71338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7B97FA6-6E11-6096-0A90-0F5056D72D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03279"/>
            <a:ext cx="9144000" cy="315721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624EBAF-37DD-F3B4-7353-ADC58EFB8DE6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C3EDE40F-1311-4A6C-9739-AC99765D43B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5049" y="1342318"/>
            <a:ext cx="4110432" cy="3210631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BF5BDF-2519-0917-0C59-C0BEBBD9C1D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684319" y="1342320"/>
            <a:ext cx="4110432" cy="321063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0C9D3077-6F3D-6327-35E8-405F59FF9B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4447A38E-7B62-61B4-0A03-3A478D4A4DC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63E25A3C-83F1-98BF-7D64-91908C95DF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527E9BE-C95F-FAC5-50FD-76E54C1320A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65047" y="1009651"/>
            <a:ext cx="4110432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C438286-0A23-A483-F3C7-7337E73E4B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84319" y="1009651"/>
            <a:ext cx="4110053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150333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urple and blue waves&#10;&#10;Description automatically generated">
            <a:extLst>
              <a:ext uri="{FF2B5EF4-FFF2-40B4-BE49-F238E27FC236}">
                <a16:creationId xmlns:a16="http://schemas.microsoft.com/office/drawing/2014/main" id="{BC52631A-CDA0-5BF3-9A05-5950CE9B0C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03278"/>
            <a:ext cx="9144000" cy="315721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624EBAF-37DD-F3B4-7353-ADC58EFB8DE6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C3EDE40F-1311-4A6C-9739-AC99765D43B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5049" y="1342318"/>
            <a:ext cx="4110432" cy="3210631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BF5BDF-2519-0917-0C59-C0BEBBD9C1D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684319" y="1342320"/>
            <a:ext cx="4110432" cy="321063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0C9D3077-6F3D-6327-35E8-405F59FF9B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4447A38E-7B62-61B4-0A03-3A478D4A4DC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63E25A3C-83F1-98BF-7D64-91908C95DF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527E9BE-C95F-FAC5-50FD-76E54C1320A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65047" y="1009651"/>
            <a:ext cx="4110432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C438286-0A23-A483-F3C7-7337E73E4B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84319" y="1009651"/>
            <a:ext cx="4110053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28806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78F77354-B99A-6AE7-D9B5-24A115C847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03279"/>
            <a:ext cx="9144000" cy="315721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AC6CB34-72B2-A59C-F1D9-B78DE2388626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E68B6CC-B4A1-A03B-A3E9-E9F4C29CE6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497056E-E7B2-5F1F-77DA-E4D0F3BCAE9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1B7194E1-1E29-FB20-49E5-C7E58819D7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BD28CBB-DAD7-60D7-4730-C613DEEE428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65047" y="1009651"/>
            <a:ext cx="2675331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9944CE8-57FC-C28A-5E3D-9DFE719E571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229534" y="1009651"/>
            <a:ext cx="2675331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79F87BC-6761-709F-085A-1D095F877D4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119420" y="1009651"/>
            <a:ext cx="2674952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0D24730-D405-2D74-CD98-B828A667DEE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5049" y="1342320"/>
            <a:ext cx="2675331" cy="3210629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D84E56A-38B4-4DCF-6754-45F636E3091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229534" y="1342320"/>
            <a:ext cx="2675331" cy="3210629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82A5DCFA-DFCD-335A-E8FE-0C8EDE596F1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119420" y="1342320"/>
            <a:ext cx="2675331" cy="3210629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218189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urple and blue waves&#10;&#10;Description automatically generated">
            <a:extLst>
              <a:ext uri="{FF2B5EF4-FFF2-40B4-BE49-F238E27FC236}">
                <a16:creationId xmlns:a16="http://schemas.microsoft.com/office/drawing/2014/main" id="{EA42E5A6-CA96-48F6-D08E-3AB3252CF1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03278"/>
            <a:ext cx="9144000" cy="315721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AC6CB34-72B2-A59C-F1D9-B78DE2388626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E68B6CC-B4A1-A03B-A3E9-E9F4C29CE6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497056E-E7B2-5F1F-77DA-E4D0F3BCAE9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1B7194E1-1E29-FB20-49E5-C7E58819D7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BD28CBB-DAD7-60D7-4730-C613DEEE428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65047" y="1009651"/>
            <a:ext cx="2675331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9944CE8-57FC-C28A-5E3D-9DFE719E571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229534" y="1009651"/>
            <a:ext cx="2675331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79F87BC-6761-709F-085A-1D095F877D4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119420" y="1009651"/>
            <a:ext cx="2674952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0D24730-D405-2D74-CD98-B828A667DEE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5049" y="1342320"/>
            <a:ext cx="2675331" cy="3210629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D84E56A-38B4-4DCF-6754-45F636E3091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229534" y="1342320"/>
            <a:ext cx="2675331" cy="3210629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82A5DCFA-DFCD-335A-E8FE-0C8EDE596F1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119420" y="1342320"/>
            <a:ext cx="2675331" cy="3210629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10081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6C669DC-674D-8D3B-8007-239A6AF5B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03279"/>
            <a:ext cx="9144000" cy="3157211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941F3B54-359E-2B32-FAA1-E5035C2E6F3B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BB28948A-3A30-DAAA-9987-45A22C793F1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4591" y="1342322"/>
            <a:ext cx="1981911" cy="321062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1000"/>
            </a:lvl1pPr>
            <a:lvl2pPr marL="457200" indent="0" algn="l">
              <a:buNone/>
              <a:defRPr sz="1000"/>
            </a:lvl2pPr>
            <a:lvl3pPr marL="914400" indent="0" algn="l">
              <a:buNone/>
              <a:defRPr sz="1000"/>
            </a:lvl3pPr>
            <a:lvl4pPr marL="1371600" indent="0" algn="l">
              <a:buNone/>
              <a:defRPr sz="1000"/>
            </a:lvl4pPr>
            <a:lvl5pPr marL="1828800" indent="0" algn="l">
              <a:buNone/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59860C5-2592-EAB9-8853-34E1E7E69CC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514007" y="1342322"/>
            <a:ext cx="1981911" cy="321062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1000"/>
            </a:lvl1pPr>
            <a:lvl2pPr marL="457200" indent="0" algn="l">
              <a:buNone/>
              <a:defRPr sz="1000"/>
            </a:lvl2pPr>
            <a:lvl3pPr marL="914400" indent="0" algn="l">
              <a:buNone/>
              <a:defRPr sz="1000"/>
            </a:lvl3pPr>
            <a:lvl4pPr marL="1371600" indent="0" algn="l">
              <a:buNone/>
              <a:defRPr sz="1000"/>
            </a:lvl4pPr>
            <a:lvl5pPr marL="1828800" indent="0" algn="l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F5A0837-D320-A897-2E0A-2265469A5B9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663423" y="1342322"/>
            <a:ext cx="1981911" cy="321062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1000"/>
            </a:lvl1pPr>
            <a:lvl2pPr marL="457200" indent="0" algn="l">
              <a:buNone/>
              <a:defRPr sz="1000"/>
            </a:lvl2pPr>
            <a:lvl3pPr marL="914400" indent="0" algn="l">
              <a:buNone/>
              <a:defRPr sz="1000"/>
            </a:lvl3pPr>
            <a:lvl4pPr marL="1371600" indent="0" algn="l">
              <a:buNone/>
              <a:defRPr sz="1000"/>
            </a:lvl4pPr>
            <a:lvl5pPr marL="1828800" indent="0" algn="l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07E7520-5B3F-DE10-4FA2-B2879465B24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812840" y="1342322"/>
            <a:ext cx="1981911" cy="321062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1000"/>
            </a:lvl1pPr>
            <a:lvl2pPr marL="457200" indent="0" algn="l">
              <a:buNone/>
              <a:defRPr sz="1000"/>
            </a:lvl2pPr>
            <a:lvl3pPr marL="914400" indent="0" algn="l">
              <a:buNone/>
              <a:defRPr sz="1000"/>
            </a:lvl3pPr>
            <a:lvl4pPr marL="1371600" indent="0" algn="l">
              <a:buNone/>
              <a:defRPr sz="1000"/>
            </a:lvl4pPr>
            <a:lvl5pPr marL="1828800" indent="0" algn="l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9228984-1B87-7DE6-0DC6-211D47638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C705BEC-35E7-982C-E8AE-24E6096B1CF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C6599DA-1265-B4B4-B9B4-D74BB96A93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A3568E0-1596-4CD8-6FC1-412DE62ECC0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65047" y="1009651"/>
            <a:ext cx="1981455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7BF764D8-8388-D3EA-4831-EAE4BAE7AE2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514669" y="1009651"/>
            <a:ext cx="1981455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9451458-211D-6BB3-5F7E-0501798BA3A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58429" y="1009651"/>
            <a:ext cx="1981455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570473C1-DCF7-F44A-2CDD-ABDD07A2E5D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07269" y="1009651"/>
            <a:ext cx="1981455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2492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86">
          <p15:clr>
            <a:srgbClr val="FBAE40"/>
          </p15:clr>
        </p15:guide>
        <p15:guide id="2" pos="2980">
          <p15:clr>
            <a:srgbClr val="FBAE40"/>
          </p15:clr>
        </p15:guide>
        <p15:guide id="3" pos="308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urple and blue waves&#10;&#10;Description automatically generated">
            <a:extLst>
              <a:ext uri="{FF2B5EF4-FFF2-40B4-BE49-F238E27FC236}">
                <a16:creationId xmlns:a16="http://schemas.microsoft.com/office/drawing/2014/main" id="{75959077-5B69-2566-B456-5E2F63DB77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03278"/>
            <a:ext cx="9144000" cy="315721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941F3B54-359E-2B32-FAA1-E5035C2E6F3B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BB28948A-3A30-DAAA-9987-45A22C793F1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4591" y="1342322"/>
            <a:ext cx="1981911" cy="321062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1000"/>
            </a:lvl1pPr>
            <a:lvl2pPr marL="457200" indent="0" algn="l">
              <a:buNone/>
              <a:defRPr sz="1000"/>
            </a:lvl2pPr>
            <a:lvl3pPr marL="914400" indent="0" algn="l">
              <a:buNone/>
              <a:defRPr sz="1000"/>
            </a:lvl3pPr>
            <a:lvl4pPr marL="1371600" indent="0" algn="l">
              <a:buNone/>
              <a:defRPr sz="1000"/>
            </a:lvl4pPr>
            <a:lvl5pPr marL="1828800" indent="0" algn="l">
              <a:buNone/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59860C5-2592-EAB9-8853-34E1E7E69CC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514007" y="1342322"/>
            <a:ext cx="1981911" cy="321062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1000"/>
            </a:lvl1pPr>
            <a:lvl2pPr marL="457200" indent="0" algn="l">
              <a:buNone/>
              <a:defRPr sz="1000"/>
            </a:lvl2pPr>
            <a:lvl3pPr marL="914400" indent="0" algn="l">
              <a:buNone/>
              <a:defRPr sz="1000"/>
            </a:lvl3pPr>
            <a:lvl4pPr marL="1371600" indent="0" algn="l">
              <a:buNone/>
              <a:defRPr sz="1000"/>
            </a:lvl4pPr>
            <a:lvl5pPr marL="1828800" indent="0" algn="l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F5A0837-D320-A897-2E0A-2265469A5B9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663423" y="1342322"/>
            <a:ext cx="1981911" cy="321062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1000"/>
            </a:lvl1pPr>
            <a:lvl2pPr marL="457200" indent="0" algn="l">
              <a:buNone/>
              <a:defRPr sz="1000"/>
            </a:lvl2pPr>
            <a:lvl3pPr marL="914400" indent="0" algn="l">
              <a:buNone/>
              <a:defRPr sz="1000"/>
            </a:lvl3pPr>
            <a:lvl4pPr marL="1371600" indent="0" algn="l">
              <a:buNone/>
              <a:defRPr sz="1000"/>
            </a:lvl4pPr>
            <a:lvl5pPr marL="1828800" indent="0" algn="l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07E7520-5B3F-DE10-4FA2-B2879465B24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812840" y="1342322"/>
            <a:ext cx="1981911" cy="321062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1000"/>
            </a:lvl1pPr>
            <a:lvl2pPr marL="457200" indent="0" algn="l">
              <a:buNone/>
              <a:defRPr sz="1000"/>
            </a:lvl2pPr>
            <a:lvl3pPr marL="914400" indent="0" algn="l">
              <a:buNone/>
              <a:defRPr sz="1000"/>
            </a:lvl3pPr>
            <a:lvl4pPr marL="1371600" indent="0" algn="l">
              <a:buNone/>
              <a:defRPr sz="1000"/>
            </a:lvl4pPr>
            <a:lvl5pPr marL="1828800" indent="0" algn="l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9228984-1B87-7DE6-0DC6-211D47638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C705BEC-35E7-982C-E8AE-24E6096B1CF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C6599DA-1265-B4B4-B9B4-D74BB96A93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A3568E0-1596-4CD8-6FC1-412DE62ECC0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65047" y="1009651"/>
            <a:ext cx="1981455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7BF764D8-8388-D3EA-4831-EAE4BAE7AE2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514669" y="1009651"/>
            <a:ext cx="1981455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9451458-211D-6BB3-5F7E-0501798BA3A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58429" y="1009651"/>
            <a:ext cx="1981455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570473C1-DCF7-F44A-2CDD-ABDD07A2E5D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07269" y="1009651"/>
            <a:ext cx="1981455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61306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86">
          <p15:clr>
            <a:srgbClr val="FBAE40"/>
          </p15:clr>
        </p15:guide>
        <p15:guide id="2" pos="2980">
          <p15:clr>
            <a:srgbClr val="FBAE40"/>
          </p15:clr>
        </p15:guide>
        <p15:guide id="3" pos="308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x1 + Content 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FB65CFE-0B67-2533-647D-216940EFCE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79514"/>
            <a:ext cx="9144000" cy="315721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0E09997F-95B0-A63A-8EB1-6BFE16E93F40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C2CEA99-829E-FD47-A2BD-8C1D622245B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64591" y="1009650"/>
            <a:ext cx="8429781" cy="186878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lnSpc>
                <a:spcPct val="100000"/>
              </a:lnSpc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edit Master text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B097C9F-F869-3F01-CEB3-164DD7B015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4591" y="1337766"/>
            <a:ext cx="8429781" cy="3215185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9166AF49-E362-7AA4-5204-3F01326F8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C96EE21-241E-ADBA-A344-36D0B69A90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31C22B-CD52-E342-0D2B-576C326821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94337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7B97FA6-6E11-6096-0A90-0F5056D72D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03279"/>
            <a:ext cx="9144000" cy="315721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624EBAF-37DD-F3B4-7353-ADC58EFB8DE6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C3EDE40F-1311-4A6C-9739-AC99765D43B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5049" y="1342318"/>
            <a:ext cx="4110432" cy="3210631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BF5BDF-2519-0917-0C59-C0BEBBD9C1D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684319" y="1342320"/>
            <a:ext cx="4110432" cy="321063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0C9D3077-6F3D-6327-35E8-405F59FF9B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4447A38E-7B62-61B4-0A03-3A478D4A4DC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63E25A3C-83F1-98BF-7D64-91908C95DF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527E9BE-C95F-FAC5-50FD-76E54C1320A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65047" y="1009651"/>
            <a:ext cx="4110432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C438286-0A23-A483-F3C7-7337E73E4B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84319" y="1009651"/>
            <a:ext cx="4110053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77684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x1 + Content 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urple and blue waves&#10;&#10;Description automatically generated">
            <a:extLst>
              <a:ext uri="{FF2B5EF4-FFF2-40B4-BE49-F238E27FC236}">
                <a16:creationId xmlns:a16="http://schemas.microsoft.com/office/drawing/2014/main" id="{B7CA29FF-8219-3E6D-39F5-1E9045D687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03280"/>
            <a:ext cx="9144000" cy="315721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EB0FA2E-4247-5CAD-F67C-4B3B998E2781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C2CEA99-829E-FD47-A2BD-8C1D622245B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64591" y="1009650"/>
            <a:ext cx="8429781" cy="186878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lnSpc>
                <a:spcPct val="100000"/>
              </a:lnSpc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9166AF49-E362-7AA4-5204-3F01326F8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C96EE21-241E-ADBA-A344-36D0B69A90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5E1D00-E626-82C0-4836-A62BB286A0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BBDD4DF3-75D8-A480-8255-88FFD0BB2C9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4591" y="1337766"/>
            <a:ext cx="8429781" cy="3215185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81559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x2 + Content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5827410-7950-724A-2298-839050C371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02548"/>
            <a:ext cx="9144000" cy="315721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07981DD-5B50-4BE2-5980-CFA7DCC29D7E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E058C108-8786-AE26-7283-CC31501B508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5048" y="1337766"/>
            <a:ext cx="4086000" cy="3215181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78C11B0-8DFB-AFD4-964F-595253243FB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708751" y="1337766"/>
            <a:ext cx="4086000" cy="3215181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83BB4E9-5574-3AB2-1102-CC83A986D54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65049" y="1009650"/>
            <a:ext cx="4086000" cy="186878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lnSpc>
                <a:spcPct val="100000"/>
              </a:lnSpc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edit Master tex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ABE9937-A89F-68EA-30F3-A65FDDE1A6C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08037" y="1009650"/>
            <a:ext cx="4086000" cy="186878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lnSpc>
                <a:spcPct val="100000"/>
              </a:lnSpc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EA24416C-F45F-68E7-34A6-5BBC6F07D2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236E20EC-B998-3F74-DEC9-DD1D9FD948E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2AC15D7-3EBF-2D1C-F71C-B2EE750A4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76067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x2 + Content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urple and blue waves&#10;&#10;Description automatically generated">
            <a:extLst>
              <a:ext uri="{FF2B5EF4-FFF2-40B4-BE49-F238E27FC236}">
                <a16:creationId xmlns:a16="http://schemas.microsoft.com/office/drawing/2014/main" id="{CDFB6842-41B5-6FF2-2895-769AFFE8EE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93144"/>
            <a:ext cx="9144000" cy="315721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854D0E5-44E3-DDE1-F7B5-82EE8F5349A2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83BB4E9-5574-3AB2-1102-CC83A986D54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65049" y="1009650"/>
            <a:ext cx="4086000" cy="186878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lnSpc>
                <a:spcPct val="100000"/>
              </a:lnSpc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edit Master text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EA24416C-F45F-68E7-34A6-5BBC6F07D2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236E20EC-B998-3F74-DEC9-DD1D9FD948E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ABE9937-A89F-68EA-30F3-A65FDDE1A6C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08037" y="1009650"/>
            <a:ext cx="4086000" cy="186878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lnSpc>
                <a:spcPct val="100000"/>
              </a:lnSpc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</a:t>
            </a: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BF2A995F-FA92-84D8-B7DF-F85FF933C2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D21C3D2-C3F3-BE88-263A-18682901C76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5048" y="1337766"/>
            <a:ext cx="4086000" cy="3215181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4B0D2DE-F7E1-20CD-A659-833A84ECA8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708751" y="1337766"/>
            <a:ext cx="4086000" cy="3215181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449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33636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C967838E-C514-2402-E9ED-1D40FD696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5AE8A31-D129-30FD-B7DD-644E15F82EF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369B62F-60A5-1F97-BC78-5A783FA11880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471E97A-C30F-15D0-EAAE-DC672DADC3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86858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623DA83-C050-5D63-C96F-B1291F4B8F0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sub-title</a:t>
            </a:r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C346A663-A323-1181-7039-1A2BC94E29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46BFD32-6B79-E1EF-55CB-9BDEBDAA5F4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4591" y="1009650"/>
            <a:ext cx="8430160" cy="354330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F9C91B1-AFC4-7DB9-D557-386C4009B0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00771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C3EDE40F-1311-4A6C-9739-AC99765D43B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5049" y="1342318"/>
            <a:ext cx="4110432" cy="3210631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BF5BDF-2519-0917-0C59-C0BEBBD9C1D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684319" y="1342320"/>
            <a:ext cx="4110432" cy="321063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0C9D3077-6F3D-6327-35E8-405F59FF9B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4447A38E-7B62-61B4-0A03-3A478D4A4DC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63E25A3C-83F1-98BF-7D64-91908C95DF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527E9BE-C95F-FAC5-50FD-76E54C1320A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65047" y="1009651"/>
            <a:ext cx="4110432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C438286-0A23-A483-F3C7-7337E73E4B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84319" y="1009651"/>
            <a:ext cx="4110053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973737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CE68B6CC-B4A1-A03B-A3E9-E9F4C29CE6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497056E-E7B2-5F1F-77DA-E4D0F3BCAE9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1B7194E1-1E29-FB20-49E5-C7E58819D7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BD28CBB-DAD7-60D7-4730-C613DEEE428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65047" y="1009651"/>
            <a:ext cx="2675331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9944CE8-57FC-C28A-5E3D-9DFE719E571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229534" y="1009651"/>
            <a:ext cx="2675331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79F87BC-6761-709F-085A-1D095F877D4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119420" y="1009651"/>
            <a:ext cx="2674952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0D24730-D405-2D74-CD98-B828A667DEE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5049" y="1342320"/>
            <a:ext cx="2675331" cy="3210629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D84E56A-38B4-4DCF-6754-45F636E3091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229534" y="1342320"/>
            <a:ext cx="2675331" cy="3210629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82A5DCFA-DFCD-335A-E8FE-0C8EDE596F1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119420" y="1342320"/>
            <a:ext cx="2675331" cy="3210629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309103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BB28948A-3A30-DAAA-9987-45A22C793F1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4591" y="1342322"/>
            <a:ext cx="1981911" cy="321062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1000">
                <a:solidFill>
                  <a:schemeClr val="bg1"/>
                </a:solidFill>
              </a:defRPr>
            </a:lvl1pPr>
            <a:lvl2pPr marL="457200" indent="0" algn="l">
              <a:buNone/>
              <a:defRPr sz="1000">
                <a:solidFill>
                  <a:schemeClr val="bg1"/>
                </a:solidFill>
              </a:defRPr>
            </a:lvl2pPr>
            <a:lvl3pPr marL="914400" indent="0" algn="l">
              <a:buNone/>
              <a:defRPr sz="1000">
                <a:solidFill>
                  <a:schemeClr val="bg1"/>
                </a:solidFill>
              </a:defRPr>
            </a:lvl3pPr>
            <a:lvl4pPr marL="1371600" indent="0" algn="l">
              <a:buNone/>
              <a:defRPr sz="1000">
                <a:solidFill>
                  <a:schemeClr val="bg1"/>
                </a:solidFill>
              </a:defRPr>
            </a:lvl4pPr>
            <a:lvl5pPr marL="1828800" indent="0" algn="l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 err="1"/>
              <a:t>Fift</a:t>
            </a:r>
            <a:r>
              <a:rPr lang="en-GB" dirty="0"/>
              <a:t> leve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59860C5-2592-EAB9-8853-34E1E7E69CC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514007" y="1342322"/>
            <a:ext cx="1981911" cy="321062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1000">
                <a:solidFill>
                  <a:schemeClr val="bg1"/>
                </a:solidFill>
              </a:defRPr>
            </a:lvl1pPr>
            <a:lvl2pPr marL="457200" indent="0" algn="l">
              <a:buNone/>
              <a:defRPr sz="1000">
                <a:solidFill>
                  <a:schemeClr val="bg1"/>
                </a:solidFill>
              </a:defRPr>
            </a:lvl2pPr>
            <a:lvl3pPr marL="914400" indent="0" algn="l">
              <a:buNone/>
              <a:defRPr sz="1000">
                <a:solidFill>
                  <a:schemeClr val="bg1"/>
                </a:solidFill>
              </a:defRPr>
            </a:lvl3pPr>
            <a:lvl4pPr marL="1371600" indent="0" algn="l">
              <a:buNone/>
              <a:defRPr sz="1000">
                <a:solidFill>
                  <a:schemeClr val="bg1"/>
                </a:solidFill>
              </a:defRPr>
            </a:lvl4pPr>
            <a:lvl5pPr marL="1828800" indent="0" algn="l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F5A0837-D320-A897-2E0A-2265469A5B9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663423" y="1342322"/>
            <a:ext cx="1981911" cy="321062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1000">
                <a:solidFill>
                  <a:schemeClr val="bg1"/>
                </a:solidFill>
              </a:defRPr>
            </a:lvl1pPr>
            <a:lvl2pPr marL="457200" indent="0" algn="l">
              <a:buNone/>
              <a:defRPr sz="1000">
                <a:solidFill>
                  <a:schemeClr val="bg1"/>
                </a:solidFill>
              </a:defRPr>
            </a:lvl2pPr>
            <a:lvl3pPr marL="914400" indent="0" algn="l">
              <a:buNone/>
              <a:defRPr sz="1000">
                <a:solidFill>
                  <a:schemeClr val="bg1"/>
                </a:solidFill>
              </a:defRPr>
            </a:lvl3pPr>
            <a:lvl4pPr marL="1371600" indent="0" algn="l">
              <a:buNone/>
              <a:defRPr sz="1000">
                <a:solidFill>
                  <a:schemeClr val="bg1"/>
                </a:solidFill>
              </a:defRPr>
            </a:lvl4pPr>
            <a:lvl5pPr marL="1828800" indent="0" algn="l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07E7520-5B3F-DE10-4FA2-B2879465B24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812840" y="1342322"/>
            <a:ext cx="1981911" cy="321062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1000">
                <a:solidFill>
                  <a:schemeClr val="bg1"/>
                </a:solidFill>
              </a:defRPr>
            </a:lvl1pPr>
            <a:lvl2pPr marL="457200" indent="0" algn="l">
              <a:buNone/>
              <a:defRPr sz="1000">
                <a:solidFill>
                  <a:schemeClr val="bg1"/>
                </a:solidFill>
              </a:defRPr>
            </a:lvl2pPr>
            <a:lvl3pPr marL="914400" indent="0" algn="l">
              <a:buNone/>
              <a:defRPr sz="1000">
                <a:solidFill>
                  <a:schemeClr val="bg1"/>
                </a:solidFill>
              </a:defRPr>
            </a:lvl3pPr>
            <a:lvl4pPr marL="1371600" indent="0" algn="l">
              <a:buNone/>
              <a:defRPr sz="1000">
                <a:solidFill>
                  <a:schemeClr val="bg1"/>
                </a:solidFill>
              </a:defRPr>
            </a:lvl4pPr>
            <a:lvl5pPr marL="1828800" indent="0" algn="l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9228984-1B87-7DE6-0DC6-211D47638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C705BEC-35E7-982C-E8AE-24E6096B1CF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C6599DA-1265-B4B4-B9B4-D74BB96A93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A3568E0-1596-4CD8-6FC1-412DE62ECC0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65047" y="1009651"/>
            <a:ext cx="1981455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7BF764D8-8388-D3EA-4831-EAE4BAE7AE2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514669" y="1009651"/>
            <a:ext cx="1981455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9451458-211D-6BB3-5F7E-0501798BA3A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58429" y="1009651"/>
            <a:ext cx="1981455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570473C1-DCF7-F44A-2CDD-ABDD07A2E5D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07269" y="1009651"/>
            <a:ext cx="1981455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5036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86">
          <p15:clr>
            <a:srgbClr val="FBAE40"/>
          </p15:clr>
        </p15:guide>
        <p15:guide id="2" pos="2980">
          <p15:clr>
            <a:srgbClr val="FBAE40"/>
          </p15:clr>
        </p15:guide>
        <p15:guide id="3" pos="308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D0FDC3A-AA39-5D12-FDA6-1F82575476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077" y="373744"/>
            <a:ext cx="2029522" cy="759246"/>
          </a:xfrm>
          <a:prstGeom prst="rect">
            <a:avLst/>
          </a:prstGeom>
        </p:spPr>
      </p:pic>
      <p:sp>
        <p:nvSpPr>
          <p:cNvPr id="4" name="Text Placeholder 13">
            <a:extLst>
              <a:ext uri="{FF2B5EF4-FFF2-40B4-BE49-F238E27FC236}">
                <a16:creationId xmlns:a16="http://schemas.microsoft.com/office/drawing/2014/main" id="{1F627827-9D5D-F546-0D18-05B65A74FE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8077" y="2034435"/>
            <a:ext cx="7498484" cy="9144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lang="en-US" sz="2000" kern="0" dirty="0" smtClean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US" sz="819" kern="1200" dirty="0" smtClean="0">
                <a:solidFill>
                  <a:schemeClr val="tx1"/>
                </a:solidFill>
              </a:defRPr>
            </a:lvl2pPr>
            <a:lvl3pPr>
              <a:defRPr lang="en-US" sz="819" kern="1200" dirty="0" smtClean="0">
                <a:solidFill>
                  <a:schemeClr val="tx1"/>
                </a:solidFill>
              </a:defRPr>
            </a:lvl3pPr>
            <a:lvl4pPr>
              <a:defRPr lang="en-US" sz="819" kern="1200" dirty="0" smtClean="0">
                <a:solidFill>
                  <a:schemeClr val="tx1"/>
                </a:solidFill>
              </a:defRPr>
            </a:lvl4pPr>
            <a:lvl5pPr>
              <a:defRPr lang="en-AU" sz="819" kern="1200" dirty="0">
                <a:solidFill>
                  <a:schemeClr val="tx1"/>
                </a:solidFill>
              </a:defRPr>
            </a:lvl5pPr>
          </a:lstStyle>
          <a:p>
            <a:pPr marL="12700" defTabSz="914400">
              <a:spcBef>
                <a:spcPts val="215"/>
              </a:spcBef>
            </a:pPr>
            <a:r>
              <a:rPr lang="en-US" sz="2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ti-line main</a:t>
            </a:r>
            <a:br>
              <a:rPr lang="en-US" sz="2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"/>
              </a:rPr>
              <a:t>Headline</a:t>
            </a:r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9383C15F-190D-E7BF-A567-BFE1BAC6E9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077" y="3122639"/>
            <a:ext cx="7498484" cy="492125"/>
          </a:xfrm>
          <a:prstGeom prst="rect">
            <a:avLst/>
          </a:prstGeom>
        </p:spPr>
        <p:txBody>
          <a:bodyPr lIns="0"/>
          <a:lstStyle>
            <a:lvl1pPr marL="0" indent="0" rtl="0">
              <a:buNone/>
              <a:defRPr kumimoji="0" lang="en-US" sz="1400" b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Multi-line Secondary </a:t>
            </a:r>
            <a:br>
              <a:rPr lang="en-US" dirty="0"/>
            </a:br>
            <a:r>
              <a:rPr lang="en-US" dirty="0"/>
              <a:t>Headline</a:t>
            </a:r>
          </a:p>
        </p:txBody>
      </p:sp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1D4190FB-7A5C-0880-B170-CA772460D2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8077" y="3864131"/>
            <a:ext cx="3598436" cy="211240"/>
          </a:xfrm>
          <a:prstGeom prst="rect">
            <a:avLst/>
          </a:prstGeom>
        </p:spPr>
        <p:txBody>
          <a:bodyPr lIns="0"/>
          <a:lstStyle>
            <a:lvl1pPr marL="0" marR="0" indent="0" algn="l" defTabSz="243833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900" b="1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0" marR="0" indent="0" algn="l" defTabSz="243833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900" b="1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 marL="0" marR="0" indent="0" algn="l" defTabSz="243833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900" b="1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 marL="0" marR="0" indent="0" algn="l" defTabSz="243833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900" b="1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 marL="0" marR="0" indent="0" algn="l" defTabSz="243833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AU" sz="900" b="1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Month YYYY</a:t>
            </a:r>
            <a:endParaRPr lang="en-AU" dirty="0"/>
          </a:p>
        </p:txBody>
      </p:sp>
      <p:sp>
        <p:nvSpPr>
          <p:cNvPr id="7" name="Line">
            <a:extLst>
              <a:ext uri="{FF2B5EF4-FFF2-40B4-BE49-F238E27FC236}">
                <a16:creationId xmlns:a16="http://schemas.microsoft.com/office/drawing/2014/main" id="{7A01034E-0F03-9E0A-7D95-23BAFEA7D38B}"/>
              </a:ext>
            </a:extLst>
          </p:cNvPr>
          <p:cNvSpPr/>
          <p:nvPr userDrawn="1"/>
        </p:nvSpPr>
        <p:spPr>
          <a:xfrm>
            <a:off x="358774" y="1895970"/>
            <a:ext cx="8353426" cy="0"/>
          </a:xfrm>
          <a:prstGeom prst="line">
            <a:avLst/>
          </a:prstGeom>
          <a:ln w="12700">
            <a:solidFill>
              <a:schemeClr val="bg1"/>
            </a:solidFill>
            <a:miter lim="400000"/>
          </a:ln>
        </p:spPr>
        <p:txBody>
          <a:bodyPr lIns="45718" tIns="45718" rIns="45718" bIns="45718"/>
          <a:lstStyle/>
          <a:p>
            <a:endParaRPr lang="en-AE">
              <a:latin typeface="Helvetica LT Pro" panose="020B0504020202020204" pitchFamily="34" charset="0"/>
            </a:endParaRPr>
          </a:p>
        </p:txBody>
      </p:sp>
      <p:sp>
        <p:nvSpPr>
          <p:cNvPr id="8" name="Line">
            <a:extLst>
              <a:ext uri="{FF2B5EF4-FFF2-40B4-BE49-F238E27FC236}">
                <a16:creationId xmlns:a16="http://schemas.microsoft.com/office/drawing/2014/main" id="{C8D84639-1E0D-C470-DAEF-1A998B5F812A}"/>
              </a:ext>
            </a:extLst>
          </p:cNvPr>
          <p:cNvSpPr/>
          <p:nvPr userDrawn="1"/>
        </p:nvSpPr>
        <p:spPr>
          <a:xfrm>
            <a:off x="358774" y="3744964"/>
            <a:ext cx="8353426" cy="0"/>
          </a:xfrm>
          <a:prstGeom prst="line">
            <a:avLst/>
          </a:prstGeom>
          <a:ln w="12700">
            <a:solidFill>
              <a:schemeClr val="bg1"/>
            </a:solidFill>
            <a:miter lim="400000"/>
          </a:ln>
        </p:spPr>
        <p:txBody>
          <a:bodyPr lIns="45718" tIns="45718" rIns="45718" bIns="45718"/>
          <a:lstStyle/>
          <a:p>
            <a:endParaRPr lang="en-AE">
              <a:latin typeface="Helvetica LT Pro" panose="020B05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5233D48-A68D-C858-F455-9156630C4B2C}"/>
              </a:ext>
            </a:extLst>
          </p:cNvPr>
          <p:cNvSpPr/>
          <p:nvPr userDrawn="1"/>
        </p:nvSpPr>
        <p:spPr>
          <a:xfrm>
            <a:off x="8665480" y="4844874"/>
            <a:ext cx="108970" cy="87167"/>
          </a:xfrm>
          <a:prstGeom prst="rect">
            <a:avLst/>
          </a:prstGeom>
          <a:solidFill>
            <a:srgbClr val="282A4A"/>
          </a:solidFill>
          <a:ln>
            <a:solidFill>
              <a:srgbClr val="282A4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bject 37">
            <a:extLst>
              <a:ext uri="{FF2B5EF4-FFF2-40B4-BE49-F238E27FC236}">
                <a16:creationId xmlns:a16="http://schemas.microsoft.com/office/drawing/2014/main" id="{34DC83CB-A1D2-EA64-D99E-E8856A7A1771}"/>
              </a:ext>
            </a:extLst>
          </p:cNvPr>
          <p:cNvSpPr txBox="1"/>
          <p:nvPr userDrawn="1"/>
        </p:nvSpPr>
        <p:spPr>
          <a:xfrm>
            <a:off x="7253107" y="4757698"/>
            <a:ext cx="1529080" cy="1743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6" algn="r">
              <a:lnSpc>
                <a:spcPts val="1616"/>
              </a:lnSpc>
            </a:pPr>
            <a:r>
              <a:rPr lang="en-GB" sz="700" spc="5" dirty="0">
                <a:solidFill>
                  <a:schemeClr val="bg1"/>
                </a:solidFill>
                <a:latin typeface="Arial"/>
                <a:cs typeface="Arial"/>
              </a:rPr>
              <a:t>atrc.gov.ae</a:t>
            </a:r>
            <a:endParaRPr lang="en-GB" sz="700" dirty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176825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urple and blue waves&#10;&#10;Description automatically generated">
            <a:extLst>
              <a:ext uri="{FF2B5EF4-FFF2-40B4-BE49-F238E27FC236}">
                <a16:creationId xmlns:a16="http://schemas.microsoft.com/office/drawing/2014/main" id="{BC52631A-CDA0-5BF3-9A05-5950CE9B0C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03278"/>
            <a:ext cx="9144000" cy="315721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624EBAF-37DD-F3B4-7353-ADC58EFB8DE6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C3EDE40F-1311-4A6C-9739-AC99765D43B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5049" y="1342318"/>
            <a:ext cx="4110432" cy="3210631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BF5BDF-2519-0917-0C59-C0BEBBD9C1D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684319" y="1342320"/>
            <a:ext cx="4110432" cy="321063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0C9D3077-6F3D-6327-35E8-405F59FF9B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4447A38E-7B62-61B4-0A03-3A478D4A4DC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5049" y="619965"/>
            <a:ext cx="8429323" cy="1751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200" b="0" kern="1200" spc="0" baseline="0" dirty="0" smtClean="0">
                <a:solidFill>
                  <a:srgbClr val="6300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en-GB" sz="1870" b="1" kern="1200" dirty="0" smtClean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en-GB" sz="1870" b="1" kern="1200" dirty="0">
                <a:solidFill>
                  <a:srgbClr val="25374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63E25A3C-83F1-98BF-7D64-91908C95DF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527E9BE-C95F-FAC5-50FD-76E54C1320A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65047" y="1009651"/>
            <a:ext cx="4110432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C438286-0A23-A483-F3C7-7337E73E4B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84319" y="1009651"/>
            <a:ext cx="4110053" cy="19143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sz="1050" b="1">
                <a:solidFill>
                  <a:schemeClr val="accent1"/>
                </a:solidFill>
              </a:defRPr>
            </a:lvl2pPr>
            <a:lvl3pPr marL="914400" indent="0">
              <a:buNone/>
              <a:defRPr sz="1000" b="1">
                <a:solidFill>
                  <a:schemeClr val="accent1"/>
                </a:solidFill>
              </a:defRPr>
            </a:lvl3pPr>
            <a:lvl4pPr marL="1371600" indent="0">
              <a:buNone/>
              <a:defRPr sz="900" b="1">
                <a:solidFill>
                  <a:schemeClr val="accent1"/>
                </a:solidFill>
              </a:defRPr>
            </a:lvl4pPr>
            <a:lvl5pPr marL="1828800" indent="0">
              <a:buNone/>
              <a:defRPr sz="9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41959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15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slideLayout" Target="../slideLayouts/slideLayout22.xml"/><Relationship Id="rId7" Type="http://schemas.openxmlformats.org/officeDocument/2006/relationships/tags" Target="../tags/tag8.xml"/><Relationship Id="rId12" Type="http://schemas.openxmlformats.org/officeDocument/2006/relationships/image" Target="../media/image15.svg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heme" Target="../theme/theme5.xml"/><Relationship Id="rId11" Type="http://schemas.openxmlformats.org/officeDocument/2006/relationships/image" Target="../media/image14.png"/><Relationship Id="rId5" Type="http://schemas.openxmlformats.org/officeDocument/2006/relationships/slideLayout" Target="../slideLayouts/slideLayout24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3.xml"/><Relationship Id="rId9" Type="http://schemas.openxmlformats.org/officeDocument/2006/relationships/oleObject" Target="../embeddings/oleObject1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slideLayout" Target="../slideLayouts/slideLayout50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slideLayout" Target="../slideLayouts/slideLayout49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tags" Target="../tags/tag12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31" Type="http://schemas.openxmlformats.org/officeDocument/2006/relationships/image" Target="../media/image10.png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theme" Target="../theme/theme6.xml"/><Relationship Id="rId30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3.xml"/><Relationship Id="rId21" Type="http://schemas.openxmlformats.org/officeDocument/2006/relationships/theme" Target="../theme/theme7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image" Target="../media/image10.png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tags" Target="../tags/tag1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72.xml"/><Relationship Id="rId16" Type="http://schemas.openxmlformats.org/officeDocument/2006/relationships/tags" Target="../tags/tag14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80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slideLayout" Target="../slideLayouts/slideLayout87.xml"/><Relationship Id="rId7" Type="http://schemas.openxmlformats.org/officeDocument/2006/relationships/tags" Target="../tags/tag15.xml"/><Relationship Id="rId12" Type="http://schemas.openxmlformats.org/officeDocument/2006/relationships/image" Target="../media/image15.svg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theme" Target="../theme/theme9.xml"/><Relationship Id="rId11" Type="http://schemas.openxmlformats.org/officeDocument/2006/relationships/image" Target="../media/image14.png"/><Relationship Id="rId5" Type="http://schemas.openxmlformats.org/officeDocument/2006/relationships/slideLayout" Target="../slideLayouts/slideLayout89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8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491D07F-13D2-CACE-0163-80BCB0BC5C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78140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91D07F-13D2-CACE-0163-80BCB0BC5C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" name="Title Placeholder 110">
            <a:extLst>
              <a:ext uri="{FF2B5EF4-FFF2-40B4-BE49-F238E27FC236}">
                <a16:creationId xmlns:a16="http://schemas.microsoft.com/office/drawing/2014/main" id="{63BAE5F2-023D-C045-AFA8-B75BC2F009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406150"/>
            <a:ext cx="5619600" cy="3312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object 37">
            <a:extLst>
              <a:ext uri="{FF2B5EF4-FFF2-40B4-BE49-F238E27FC236}">
                <a16:creationId xmlns:a16="http://schemas.microsoft.com/office/drawing/2014/main" id="{C28A4FB6-A4E6-C17C-8C81-B728E1139D13}"/>
              </a:ext>
            </a:extLst>
          </p:cNvPr>
          <p:cNvSpPr txBox="1"/>
          <p:nvPr userDrawn="1"/>
        </p:nvSpPr>
        <p:spPr>
          <a:xfrm>
            <a:off x="7183120" y="4793717"/>
            <a:ext cx="1601969" cy="1801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6" algn="r">
              <a:lnSpc>
                <a:spcPts val="1616"/>
              </a:lnSpc>
            </a:pPr>
            <a:r>
              <a:rPr lang="en-GB" sz="700" spc="5" err="1">
                <a:solidFill>
                  <a:schemeClr val="tx1"/>
                </a:solidFill>
                <a:latin typeface="Arial"/>
                <a:cs typeface="Arial"/>
              </a:rPr>
              <a:t>atrc.gov.ae</a:t>
            </a:r>
            <a:endParaRPr lang="en-GB" sz="70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62F754B4-2DFF-65C7-F08F-909E05043ABC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0" y="4810919"/>
            <a:ext cx="9144000" cy="274637"/>
          </a:xfrm>
          <a:prstGeom prst="rect">
            <a:avLst/>
          </a:prstGeom>
        </p:spPr>
        <p:txBody>
          <a:bodyPr/>
          <a:lstStyle>
            <a:lvl1pPr algn="ctr">
              <a:defRPr lang="en-US"/>
            </a:lvl1pPr>
          </a:lstStyle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231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1" r:id="rId1"/>
  </p:sldLayoutIdLst>
  <p:hf sldNum="0" hdr="0" ftr="0" dt="0"/>
  <p:txStyles>
    <p:titleStyle>
      <a:lvl1pPr algn="r" rtl="1" eaLnBrk="1" hangingPunct="1">
        <a:defRPr sz="2400" b="1">
          <a:solidFill>
            <a:srgbClr val="253746"/>
          </a:solidFill>
          <a:latin typeface="+mj-lt"/>
          <a:ea typeface="+mj-ea"/>
          <a:cs typeface="+mj-cs"/>
        </a:defRPr>
      </a:lvl1pPr>
    </p:titleStyle>
    <p:bodyStyle>
      <a:lvl1pPr marL="7938" indent="0" algn="r" rtl="1" eaLnBrk="1" hangingPunct="1">
        <a:tabLst/>
        <a:defRPr sz="1860" b="1">
          <a:solidFill>
            <a:srgbClr val="8EE2DC"/>
          </a:solidFill>
          <a:latin typeface="+mn-lt"/>
          <a:ea typeface="+mn-ea"/>
          <a:cs typeface="+mn-cs"/>
        </a:defRPr>
      </a:lvl1pPr>
      <a:lvl2pPr marL="7938" indent="0" algn="r" rtl="1" eaLnBrk="1" hangingPunct="1">
        <a:tabLst/>
        <a:defRPr sz="1860" b="0">
          <a:latin typeface="+mn-lt"/>
          <a:ea typeface="+mn-ea"/>
          <a:cs typeface="+mn-cs"/>
        </a:defRPr>
      </a:lvl2pPr>
      <a:lvl3pPr marL="7938" indent="0" algn="r" rtl="1" eaLnBrk="1" hangingPunct="1">
        <a:tabLst/>
        <a:defRPr sz="1860" b="0">
          <a:latin typeface="+mn-lt"/>
          <a:ea typeface="+mn-ea"/>
          <a:cs typeface="+mn-cs"/>
        </a:defRPr>
      </a:lvl3pPr>
      <a:lvl4pPr marL="7938" indent="0" algn="r" rtl="1" eaLnBrk="1" hangingPunct="1">
        <a:tabLst/>
        <a:defRPr sz="1860" b="0">
          <a:latin typeface="+mn-lt"/>
          <a:ea typeface="+mn-ea"/>
          <a:cs typeface="+mn-cs"/>
        </a:defRPr>
      </a:lvl4pPr>
      <a:lvl5pPr marL="7938" indent="0" algn="r" rtl="1" eaLnBrk="1" hangingPunct="1">
        <a:tabLst/>
        <a:defRPr sz="1860" b="0">
          <a:latin typeface="+mn-lt"/>
          <a:ea typeface="+mn-ea"/>
          <a:cs typeface="+mn-cs"/>
        </a:defRPr>
      </a:lvl5pPr>
      <a:lvl6pPr marL="1039673" algn="r" rtl="1" eaLnBrk="1" hangingPunct="1">
        <a:defRPr>
          <a:latin typeface="+mn-lt"/>
          <a:ea typeface="+mn-ea"/>
          <a:cs typeface="+mn-cs"/>
        </a:defRPr>
      </a:lvl6pPr>
      <a:lvl7pPr marL="1247607" algn="r" rtl="1" eaLnBrk="1" hangingPunct="1">
        <a:defRPr>
          <a:latin typeface="+mn-lt"/>
          <a:ea typeface="+mn-ea"/>
          <a:cs typeface="+mn-cs"/>
        </a:defRPr>
      </a:lvl7pPr>
      <a:lvl8pPr marL="1455542" algn="r" rtl="1" eaLnBrk="1" hangingPunct="1">
        <a:defRPr>
          <a:latin typeface="+mn-lt"/>
          <a:ea typeface="+mn-ea"/>
          <a:cs typeface="+mn-cs"/>
        </a:defRPr>
      </a:lvl8pPr>
      <a:lvl9pPr marL="1663476" algn="r" rtl="1" eaLnBrk="1" hangingPunct="1">
        <a:defRPr>
          <a:latin typeface="+mn-lt"/>
          <a:ea typeface="+mn-ea"/>
          <a:cs typeface="+mn-cs"/>
        </a:defRPr>
      </a:lvl9pPr>
    </p:bodyStyle>
    <p:otherStyle>
      <a:lvl1pPr marL="0" algn="r" rtl="1" eaLnBrk="1" hangingPunct="1">
        <a:defRPr>
          <a:latin typeface="+mn-lt"/>
          <a:ea typeface="+mn-ea"/>
          <a:cs typeface="+mn-cs"/>
        </a:defRPr>
      </a:lvl1pPr>
      <a:lvl2pPr marL="207935" algn="r" rtl="1" eaLnBrk="1" hangingPunct="1">
        <a:defRPr>
          <a:latin typeface="+mn-lt"/>
          <a:ea typeface="+mn-ea"/>
          <a:cs typeface="+mn-cs"/>
        </a:defRPr>
      </a:lvl2pPr>
      <a:lvl3pPr marL="415869" algn="r" rtl="1" eaLnBrk="1" hangingPunct="1">
        <a:defRPr>
          <a:latin typeface="+mn-lt"/>
          <a:ea typeface="+mn-ea"/>
          <a:cs typeface="+mn-cs"/>
        </a:defRPr>
      </a:lvl3pPr>
      <a:lvl4pPr marL="623804" algn="r" rtl="1" eaLnBrk="1" hangingPunct="1">
        <a:defRPr>
          <a:latin typeface="+mn-lt"/>
          <a:ea typeface="+mn-ea"/>
          <a:cs typeface="+mn-cs"/>
        </a:defRPr>
      </a:lvl4pPr>
      <a:lvl5pPr marL="831738" algn="r" rtl="1" eaLnBrk="1" hangingPunct="1">
        <a:defRPr>
          <a:latin typeface="+mn-lt"/>
          <a:ea typeface="+mn-ea"/>
          <a:cs typeface="+mn-cs"/>
        </a:defRPr>
      </a:lvl5pPr>
      <a:lvl6pPr marL="1039673" algn="r" rtl="1" eaLnBrk="1" hangingPunct="1">
        <a:defRPr>
          <a:latin typeface="+mn-lt"/>
          <a:ea typeface="+mn-ea"/>
          <a:cs typeface="+mn-cs"/>
        </a:defRPr>
      </a:lvl6pPr>
      <a:lvl7pPr marL="1247607" algn="r" rtl="1" eaLnBrk="1" hangingPunct="1">
        <a:defRPr>
          <a:latin typeface="+mn-lt"/>
          <a:ea typeface="+mn-ea"/>
          <a:cs typeface="+mn-cs"/>
        </a:defRPr>
      </a:lvl7pPr>
      <a:lvl8pPr marL="1455542" algn="r" rtl="1" eaLnBrk="1" hangingPunct="1">
        <a:defRPr>
          <a:latin typeface="+mn-lt"/>
          <a:ea typeface="+mn-ea"/>
          <a:cs typeface="+mn-cs"/>
        </a:defRPr>
      </a:lvl8pPr>
      <a:lvl9pPr marL="1663476" algn="r" rtl="1" eaLnBrk="1" hangingPunct="1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537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D96A1FD-BB81-BA42-495E-F3CBA92283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57450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96A1FD-BB81-BA42-495E-F3CBA92283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" name="Title Placeholder 110">
            <a:extLst>
              <a:ext uri="{FF2B5EF4-FFF2-40B4-BE49-F238E27FC236}">
                <a16:creationId xmlns:a16="http://schemas.microsoft.com/office/drawing/2014/main" id="{63BAE5F2-023D-C045-AFA8-B75BC2F009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406150"/>
            <a:ext cx="5619600" cy="3312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E0960F5-0501-B1E0-AE08-BA25FCB458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782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424369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6" r:id="rId2"/>
  </p:sldLayoutIdLst>
  <p:hf sldNum="0" hdr="0" ftr="0" dt="0"/>
  <p:txStyles>
    <p:titleStyle>
      <a:lvl1pPr algn="r" rtl="1">
        <a:defRPr sz="2400" b="1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7938" indent="0" algn="r" rtl="1">
        <a:tabLst/>
        <a:defRPr sz="1860" b="1">
          <a:solidFill>
            <a:srgbClr val="8EE2DC"/>
          </a:solidFill>
          <a:latin typeface="+mn-lt"/>
          <a:ea typeface="+mn-ea"/>
          <a:cs typeface="+mn-cs"/>
        </a:defRPr>
      </a:lvl1pPr>
      <a:lvl2pPr marL="7938" indent="0" algn="r" rtl="1">
        <a:tabLst/>
        <a:defRPr sz="1860" b="0">
          <a:latin typeface="+mn-lt"/>
          <a:ea typeface="+mn-ea"/>
          <a:cs typeface="+mn-cs"/>
        </a:defRPr>
      </a:lvl2pPr>
      <a:lvl3pPr marL="7938" indent="0" algn="r" rtl="1">
        <a:tabLst/>
        <a:defRPr sz="1860" b="0">
          <a:latin typeface="+mn-lt"/>
          <a:ea typeface="+mn-ea"/>
          <a:cs typeface="+mn-cs"/>
        </a:defRPr>
      </a:lvl3pPr>
      <a:lvl4pPr marL="7938" indent="0" algn="r" rtl="1">
        <a:tabLst/>
        <a:defRPr sz="1860" b="0">
          <a:latin typeface="+mn-lt"/>
          <a:ea typeface="+mn-ea"/>
          <a:cs typeface="+mn-cs"/>
        </a:defRPr>
      </a:lvl4pPr>
      <a:lvl5pPr marL="7938" indent="0" algn="r" rtl="1">
        <a:tabLst/>
        <a:defRPr sz="1860" b="0">
          <a:latin typeface="+mn-lt"/>
          <a:ea typeface="+mn-ea"/>
          <a:cs typeface="+mn-cs"/>
        </a:defRPr>
      </a:lvl5pPr>
      <a:lvl6pPr marL="1039673" algn="r" rtl="1">
        <a:defRPr>
          <a:latin typeface="+mn-lt"/>
          <a:ea typeface="+mn-ea"/>
          <a:cs typeface="+mn-cs"/>
        </a:defRPr>
      </a:lvl6pPr>
      <a:lvl7pPr marL="1247607" algn="r" rtl="1">
        <a:defRPr>
          <a:latin typeface="+mn-lt"/>
          <a:ea typeface="+mn-ea"/>
          <a:cs typeface="+mn-cs"/>
        </a:defRPr>
      </a:lvl7pPr>
      <a:lvl8pPr marL="1455542" algn="r" rtl="1">
        <a:defRPr>
          <a:latin typeface="+mn-lt"/>
          <a:ea typeface="+mn-ea"/>
          <a:cs typeface="+mn-cs"/>
        </a:defRPr>
      </a:lvl8pPr>
      <a:lvl9pPr marL="1663476" algn="r" rtl="1">
        <a:defRPr>
          <a:latin typeface="+mn-lt"/>
          <a:ea typeface="+mn-ea"/>
          <a:cs typeface="+mn-cs"/>
        </a:defRPr>
      </a:lvl9pPr>
    </p:bodyStyle>
    <p:otherStyle>
      <a:lvl1pPr marL="0" algn="r" rtl="1">
        <a:defRPr>
          <a:latin typeface="+mn-lt"/>
          <a:ea typeface="+mn-ea"/>
          <a:cs typeface="+mn-cs"/>
        </a:defRPr>
      </a:lvl1pPr>
      <a:lvl2pPr marL="207935" algn="r" rtl="1">
        <a:defRPr>
          <a:latin typeface="+mn-lt"/>
          <a:ea typeface="+mn-ea"/>
          <a:cs typeface="+mn-cs"/>
        </a:defRPr>
      </a:lvl2pPr>
      <a:lvl3pPr marL="415869" algn="r" rtl="1">
        <a:defRPr>
          <a:latin typeface="+mn-lt"/>
          <a:ea typeface="+mn-ea"/>
          <a:cs typeface="+mn-cs"/>
        </a:defRPr>
      </a:lvl3pPr>
      <a:lvl4pPr marL="623804" algn="r" rtl="1">
        <a:defRPr>
          <a:latin typeface="+mn-lt"/>
          <a:ea typeface="+mn-ea"/>
          <a:cs typeface="+mn-cs"/>
        </a:defRPr>
      </a:lvl4pPr>
      <a:lvl5pPr marL="831738" algn="r" rtl="1">
        <a:defRPr>
          <a:latin typeface="+mn-lt"/>
          <a:ea typeface="+mn-ea"/>
          <a:cs typeface="+mn-cs"/>
        </a:defRPr>
      </a:lvl5pPr>
      <a:lvl6pPr marL="1039673" algn="r" rtl="1">
        <a:defRPr>
          <a:latin typeface="+mn-lt"/>
          <a:ea typeface="+mn-ea"/>
          <a:cs typeface="+mn-cs"/>
        </a:defRPr>
      </a:lvl6pPr>
      <a:lvl7pPr marL="1247607" algn="r" rtl="1">
        <a:defRPr>
          <a:latin typeface="+mn-lt"/>
          <a:ea typeface="+mn-ea"/>
          <a:cs typeface="+mn-cs"/>
        </a:defRPr>
      </a:lvl7pPr>
      <a:lvl8pPr marL="1455542" algn="r" rtl="1">
        <a:defRPr>
          <a:latin typeface="+mn-lt"/>
          <a:ea typeface="+mn-ea"/>
          <a:cs typeface="+mn-cs"/>
        </a:defRPr>
      </a:lvl8pPr>
      <a:lvl9pPr marL="1663476" algn="r" rtl="1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26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F80547F-E966-AFBC-8470-03553B10B9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12541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80547F-E966-AFBC-8470-03553B10B9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bject 37">
            <a:extLst>
              <a:ext uri="{FF2B5EF4-FFF2-40B4-BE49-F238E27FC236}">
                <a16:creationId xmlns:a16="http://schemas.microsoft.com/office/drawing/2014/main" id="{6DABE4E1-88C4-E3B6-100B-323D56EC12A3}"/>
              </a:ext>
            </a:extLst>
          </p:cNvPr>
          <p:cNvSpPr txBox="1"/>
          <p:nvPr userDrawn="1"/>
        </p:nvSpPr>
        <p:spPr>
          <a:xfrm>
            <a:off x="8374682" y="4786131"/>
            <a:ext cx="394210" cy="1751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6" algn="r">
              <a:lnSpc>
                <a:spcPts val="1616"/>
              </a:lnSpc>
            </a:pPr>
            <a:fld id="{4FC69F23-2E07-414A-8684-A0744552B4DF}" type="slidenum">
              <a:rPr lang="en-GB" sz="700" spc="5">
                <a:solidFill>
                  <a:srgbClr val="6300FF"/>
                </a:solidFill>
                <a:latin typeface="Arial"/>
                <a:cs typeface="Arial"/>
              </a:rPr>
              <a:pPr marL="5776" algn="r">
                <a:lnSpc>
                  <a:spcPts val="1616"/>
                </a:lnSpc>
              </a:pPr>
              <a:t>‹#›</a:t>
            </a:fld>
            <a:endParaRPr sz="700" dirty="0">
              <a:solidFill>
                <a:srgbClr val="6300FF"/>
              </a:solidFill>
              <a:latin typeface="Arial"/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211F955-4B0E-2BBB-51F2-AE20F352F320}"/>
              </a:ext>
            </a:extLst>
          </p:cNvPr>
          <p:cNvSpPr txBox="1"/>
          <p:nvPr userDrawn="1"/>
        </p:nvSpPr>
        <p:spPr>
          <a:xfrm>
            <a:off x="275210" y="4795468"/>
            <a:ext cx="260115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15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700">
                <a:solidFill>
                  <a:srgbClr val="1D374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dvanced Technology Research Council</a:t>
            </a:r>
            <a:endParaRPr lang="en-US" sz="700"/>
          </a:p>
        </p:txBody>
      </p:sp>
    </p:spTree>
    <p:extLst>
      <p:ext uri="{BB962C8B-B14F-4D97-AF65-F5344CB8AC3E}">
        <p14:creationId xmlns:p14="http://schemas.microsoft.com/office/powerpoint/2010/main" val="1864872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9" r:id="rId1"/>
    <p:sldLayoutId id="2147484011" r:id="rId2"/>
  </p:sldLayoutIdLst>
  <p:txStyles>
    <p:titleStyle>
      <a:lvl1pPr algn="r" defTabSz="914400" rtl="1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r" defTabSz="914400" rtl="1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AE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C2FA907-52EA-33F1-9FC5-1CCF491DE1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05617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73" imgH="473" progId="TCLayout.ActiveDocument.1">
                  <p:embed/>
                </p:oleObj>
              </mc:Choice>
              <mc:Fallback>
                <p:oleObj name="think-cell Slide" r:id="rId17" imgW="473" imgH="473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2FA907-52EA-33F1-9FC5-1CCF491DE1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A3F29699-8C27-9A8E-F5B4-6C1D2216B504}"/>
              </a:ext>
            </a:extLst>
          </p:cNvPr>
          <p:cNvSpPr/>
          <p:nvPr userDrawn="1"/>
        </p:nvSpPr>
        <p:spPr>
          <a:xfrm>
            <a:off x="424553" y="1036706"/>
            <a:ext cx="8310313" cy="3621093"/>
          </a:xfrm>
          <a:prstGeom prst="rect">
            <a:avLst/>
          </a:prstGeom>
          <a:solidFill>
            <a:schemeClr val="bg1">
              <a:alpha val="49872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01FCD3F-9744-AA7F-A4CF-A85F1DFA20E3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object 37">
            <a:extLst>
              <a:ext uri="{FF2B5EF4-FFF2-40B4-BE49-F238E27FC236}">
                <a16:creationId xmlns:a16="http://schemas.microsoft.com/office/drawing/2014/main" id="{3252C52D-40B7-E7C9-1D57-6EC988C3C3A7}"/>
              </a:ext>
            </a:extLst>
          </p:cNvPr>
          <p:cNvSpPr txBox="1"/>
          <p:nvPr userDrawn="1"/>
        </p:nvSpPr>
        <p:spPr>
          <a:xfrm>
            <a:off x="8374682" y="4786131"/>
            <a:ext cx="394210" cy="1751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6" algn="r">
              <a:lnSpc>
                <a:spcPts val="1616"/>
              </a:lnSpc>
            </a:pPr>
            <a:fld id="{4FC69F23-2E07-414A-8684-A0744552B4DF}" type="slidenum">
              <a:rPr lang="en-GB" sz="700" spc="5">
                <a:solidFill>
                  <a:srgbClr val="6300FF"/>
                </a:solidFill>
                <a:latin typeface="Arial"/>
                <a:cs typeface="Arial"/>
              </a:rPr>
              <a:pPr marL="5776" algn="r">
                <a:lnSpc>
                  <a:spcPts val="1616"/>
                </a:lnSpc>
              </a:pPr>
              <a:t>‹#›</a:t>
            </a:fld>
            <a:endParaRPr sz="700" dirty="0">
              <a:solidFill>
                <a:srgbClr val="6300FF"/>
              </a:solidFill>
              <a:latin typeface="Arial"/>
              <a:cs typeface="Arial"/>
            </a:endParaRPr>
          </a:p>
        </p:txBody>
      </p:sp>
      <p:sp>
        <p:nvSpPr>
          <p:cNvPr id="12" name="Title Placeholder 11">
            <a:extLst>
              <a:ext uri="{FF2B5EF4-FFF2-40B4-BE49-F238E27FC236}">
                <a16:creationId xmlns:a16="http://schemas.microsoft.com/office/drawing/2014/main" id="{C676C2DF-A625-E666-16D7-3C989681F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049" y="274638"/>
            <a:ext cx="7825174" cy="274637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pic>
        <p:nvPicPr>
          <p:cNvPr id="14" name="Picture 13" descr="A purple circles on a black background&#10;&#10;Description automatically generated">
            <a:extLst>
              <a:ext uri="{FF2B5EF4-FFF2-40B4-BE49-F238E27FC236}">
                <a16:creationId xmlns:a16="http://schemas.microsoft.com/office/drawing/2014/main" id="{00F54C09-08CC-746D-7CAF-B3242E452881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1732" y="240071"/>
            <a:ext cx="320062" cy="32257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35401F3-89CD-2C4C-49DE-F46AC4DC3754}"/>
              </a:ext>
            </a:extLst>
          </p:cNvPr>
          <p:cNvSpPr txBox="1"/>
          <p:nvPr userDrawn="1"/>
        </p:nvSpPr>
        <p:spPr>
          <a:xfrm>
            <a:off x="275210" y="4795468"/>
            <a:ext cx="260115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15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700">
                <a:solidFill>
                  <a:srgbClr val="1D374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dvanced Technology Research Council</a:t>
            </a:r>
            <a:endParaRPr lang="en-US" sz="700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55961549-2AC6-4893-028C-D082399F2C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21302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0" r:id="rId1"/>
    <p:sldLayoutId id="2147483966" r:id="rId2"/>
    <p:sldLayoutId id="2147483998" r:id="rId3"/>
    <p:sldLayoutId id="2147484013" r:id="rId4"/>
    <p:sldLayoutId id="2147483999" r:id="rId5"/>
    <p:sldLayoutId id="2147484014" r:id="rId6"/>
    <p:sldLayoutId id="2147484012" r:id="rId7"/>
    <p:sldLayoutId id="2147484000" r:id="rId8"/>
    <p:sldLayoutId id="2147483885" r:id="rId9"/>
    <p:sldLayoutId id="2147483968" r:id="rId10"/>
    <p:sldLayoutId id="2147483886" r:id="rId11"/>
    <p:sldLayoutId id="2147483969" r:id="rId12"/>
    <p:sldLayoutId id="2147484016" r:id="rId13"/>
    <p:sldLayoutId id="2147483890" r:id="rId14"/>
  </p:sldLayoutIdLst>
  <p:hf sldNum="0" hdr="0" ftr="0" dt="0"/>
  <p:txStyles>
    <p:titleStyle>
      <a:lvl1pPr algn="r" defTabSz="914400" rtl="1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rgbClr val="25374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r" defTabSz="914400" rtl="1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AE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17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162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A08BD5-2EDE-AE4B-1B35-C77149EE867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17" y="1868"/>
            <a:ext cx="9144000" cy="513976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F1194A1-77AF-A867-2B18-D8FC68F84FB5}"/>
              </a:ext>
            </a:extLst>
          </p:cNvPr>
          <p:cNvSpPr/>
          <p:nvPr userDrawn="1"/>
        </p:nvSpPr>
        <p:spPr>
          <a:xfrm>
            <a:off x="-517" y="-1868"/>
            <a:ext cx="9144000" cy="5143500"/>
          </a:xfrm>
          <a:prstGeom prst="rect">
            <a:avLst/>
          </a:prstGeom>
          <a:solidFill>
            <a:srgbClr val="243646">
              <a:alpha val="47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 dirty="0"/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C2FA907-52EA-33F1-9FC5-1CCF491DE1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005617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2FA907-52EA-33F1-9FC5-1CCF491DE1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37">
            <a:extLst>
              <a:ext uri="{FF2B5EF4-FFF2-40B4-BE49-F238E27FC236}">
                <a16:creationId xmlns:a16="http://schemas.microsoft.com/office/drawing/2014/main" id="{3252C52D-40B7-E7C9-1D57-6EC988C3C3A7}"/>
              </a:ext>
            </a:extLst>
          </p:cNvPr>
          <p:cNvSpPr txBox="1"/>
          <p:nvPr userDrawn="1"/>
        </p:nvSpPr>
        <p:spPr>
          <a:xfrm>
            <a:off x="8374682" y="4786131"/>
            <a:ext cx="394210" cy="1751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6" algn="r">
              <a:lnSpc>
                <a:spcPts val="1616"/>
              </a:lnSpc>
            </a:pPr>
            <a:fld id="{4FC69F23-2E07-414A-8684-A0744552B4DF}" type="slidenum">
              <a:rPr lang="en-GB" sz="700" spc="5">
                <a:solidFill>
                  <a:schemeClr val="bg1"/>
                </a:solidFill>
                <a:latin typeface="Arial"/>
                <a:cs typeface="Arial"/>
              </a:rPr>
              <a:pPr marL="5776" algn="r">
                <a:lnSpc>
                  <a:spcPts val="1616"/>
                </a:lnSpc>
              </a:pPr>
              <a:t>‹#›</a:t>
            </a:fld>
            <a:endParaRPr sz="7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2" name="Title Placeholder 11">
            <a:extLst>
              <a:ext uri="{FF2B5EF4-FFF2-40B4-BE49-F238E27FC236}">
                <a16:creationId xmlns:a16="http://schemas.microsoft.com/office/drawing/2014/main" id="{C676C2DF-A625-E666-16D7-3C989681F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049" y="274638"/>
            <a:ext cx="7825174" cy="274637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35401F3-89CD-2C4C-49DE-F46AC4DC3754}"/>
              </a:ext>
            </a:extLst>
          </p:cNvPr>
          <p:cNvSpPr txBox="1"/>
          <p:nvPr userDrawn="1"/>
        </p:nvSpPr>
        <p:spPr>
          <a:xfrm>
            <a:off x="275210" y="4795468"/>
            <a:ext cx="260115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15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7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dvanced Technology Research Council</a:t>
            </a:r>
            <a:endParaRPr lang="en-US" sz="700" dirty="0">
              <a:solidFill>
                <a:schemeClr val="bg1"/>
              </a:solidFill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55961549-2AC6-4893-028C-D082399F2C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9" name="Picture 13">
            <a:extLst>
              <a:ext uri="{FF2B5EF4-FFF2-40B4-BE49-F238E27FC236}">
                <a16:creationId xmlns:a16="http://schemas.microsoft.com/office/drawing/2014/main" id="{8F874C24-2470-4B77-BC49-0C5B37142233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8479723" y="235333"/>
            <a:ext cx="373555" cy="359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5976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8" r:id="rId1"/>
    <p:sldLayoutId id="2147484021" r:id="rId2"/>
    <p:sldLayoutId id="2147484022" r:id="rId3"/>
    <p:sldLayoutId id="2147484025" r:id="rId4"/>
    <p:sldLayoutId id="2147484030" r:id="rId5"/>
  </p:sldLayoutIdLst>
  <p:hf sldNum="0" hdr="0" ftr="0" dt="0"/>
  <p:txStyles>
    <p:titleStyle>
      <a:lvl1pPr algn="r" defTabSz="914400" rtl="1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r" defTabSz="914400" rtl="1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AE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17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162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09D60DB-FC6C-3E64-40F6-F801C16A60E9}"/>
              </a:ext>
            </a:extLst>
          </p:cNvPr>
          <p:cNvSpPr/>
          <p:nvPr userDrawn="1"/>
        </p:nvSpPr>
        <p:spPr>
          <a:xfrm>
            <a:off x="418057" y="761202"/>
            <a:ext cx="8310313" cy="4024929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BB8CA32-4ED7-1971-ACCD-17CB7543B4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102830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473" imgH="473" progId="TCLayout.ActiveDocument.1">
                  <p:embed/>
                </p:oleObj>
              </mc:Choice>
              <mc:Fallback>
                <p:oleObj name="think-cell Slide" r:id="rId29" imgW="473" imgH="473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B8CA32-4ED7-1971-ACCD-17CB7543B4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Placeholder 11">
            <a:extLst>
              <a:ext uri="{FF2B5EF4-FFF2-40B4-BE49-F238E27FC236}">
                <a16:creationId xmlns:a16="http://schemas.microsoft.com/office/drawing/2014/main" id="{C676C2DF-A625-E666-16D7-3C989681F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049" y="274638"/>
            <a:ext cx="7825174" cy="274637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pic>
        <p:nvPicPr>
          <p:cNvPr id="3" name="Picture 2" descr="A purple circles on a black background&#10;&#10;Description automatically generated">
            <a:extLst>
              <a:ext uri="{FF2B5EF4-FFF2-40B4-BE49-F238E27FC236}">
                <a16:creationId xmlns:a16="http://schemas.microsoft.com/office/drawing/2014/main" id="{9DC30157-6311-B3E7-6682-6D93ADB37E40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1732" y="240071"/>
            <a:ext cx="320062" cy="322572"/>
          </a:xfrm>
          <a:prstGeom prst="rect">
            <a:avLst/>
          </a:prstGeom>
        </p:spPr>
      </p:pic>
      <p:sp>
        <p:nvSpPr>
          <p:cNvPr id="2" name="object 37">
            <a:extLst>
              <a:ext uri="{FF2B5EF4-FFF2-40B4-BE49-F238E27FC236}">
                <a16:creationId xmlns:a16="http://schemas.microsoft.com/office/drawing/2014/main" id="{910F6D42-FDDE-48B3-8F19-AC6771490065}"/>
              </a:ext>
            </a:extLst>
          </p:cNvPr>
          <p:cNvSpPr txBox="1"/>
          <p:nvPr userDrawn="1"/>
        </p:nvSpPr>
        <p:spPr>
          <a:xfrm>
            <a:off x="8374682" y="4786131"/>
            <a:ext cx="394210" cy="1751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6" algn="r">
              <a:lnSpc>
                <a:spcPts val="1616"/>
              </a:lnSpc>
            </a:pPr>
            <a:fld id="{4FC69F23-2E07-414A-8684-A0744552B4DF}" type="slidenum">
              <a:rPr lang="en-GB" sz="700" spc="5">
                <a:solidFill>
                  <a:srgbClr val="6300FF"/>
                </a:solidFill>
                <a:latin typeface="Arial"/>
                <a:cs typeface="Arial"/>
              </a:rPr>
              <a:pPr marL="5776" algn="r">
                <a:lnSpc>
                  <a:spcPts val="1616"/>
                </a:lnSpc>
              </a:pPr>
              <a:t>‹#›</a:t>
            </a:fld>
            <a:endParaRPr sz="700">
              <a:solidFill>
                <a:srgbClr val="6300FF"/>
              </a:solidFill>
              <a:latin typeface="Arial"/>
              <a:cs typeface="Arial"/>
            </a:endParaRP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F1B92322-EBF1-9A58-608F-1EB3787088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525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C4AC2D6-FD1D-E0D3-D3D5-52E59C09955C}"/>
              </a:ext>
            </a:extLst>
          </p:cNvPr>
          <p:cNvSpPr txBox="1"/>
          <p:nvPr userDrawn="1"/>
        </p:nvSpPr>
        <p:spPr>
          <a:xfrm>
            <a:off x="275210" y="4795468"/>
            <a:ext cx="260115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15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700">
                <a:solidFill>
                  <a:srgbClr val="1D374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dvanced Technology Research Council</a:t>
            </a:r>
            <a:endParaRPr lang="en-US" sz="700"/>
          </a:p>
        </p:txBody>
      </p:sp>
    </p:spTree>
    <p:extLst>
      <p:ext uri="{BB962C8B-B14F-4D97-AF65-F5344CB8AC3E}">
        <p14:creationId xmlns:p14="http://schemas.microsoft.com/office/powerpoint/2010/main" val="3275516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979" r:id="rId2"/>
    <p:sldLayoutId id="2147483894" r:id="rId3"/>
    <p:sldLayoutId id="2147483954" r:id="rId4"/>
    <p:sldLayoutId id="2147483895" r:id="rId5"/>
    <p:sldLayoutId id="2147483975" r:id="rId6"/>
    <p:sldLayoutId id="2147483896" r:id="rId7"/>
    <p:sldLayoutId id="2147483976" r:id="rId8"/>
    <p:sldLayoutId id="2147483897" r:id="rId9"/>
    <p:sldLayoutId id="2147484015" r:id="rId10"/>
    <p:sldLayoutId id="2147483898" r:id="rId11"/>
    <p:sldLayoutId id="2147483977" r:id="rId12"/>
    <p:sldLayoutId id="2147483899" r:id="rId13"/>
    <p:sldLayoutId id="2147483978" r:id="rId14"/>
    <p:sldLayoutId id="2147483902" r:id="rId15"/>
    <p:sldLayoutId id="2147483956" r:id="rId16"/>
    <p:sldLayoutId id="2147483953" r:id="rId17"/>
    <p:sldLayoutId id="2147483974" r:id="rId18"/>
    <p:sldLayoutId id="2147483903" r:id="rId19"/>
    <p:sldLayoutId id="2147483973" r:id="rId20"/>
    <p:sldLayoutId id="2147483904" r:id="rId21"/>
    <p:sldLayoutId id="2147483972" r:id="rId22"/>
    <p:sldLayoutId id="2147483905" r:id="rId23"/>
    <p:sldLayoutId id="2147483971" r:id="rId24"/>
    <p:sldLayoutId id="2147483906" r:id="rId25"/>
    <p:sldLayoutId id="2147483970" r:id="rId26"/>
  </p:sldLayoutIdLst>
  <p:hf sldNum="0" hdr="0" ftr="0" dt="0"/>
  <p:txStyles>
    <p:titleStyle>
      <a:lvl1pPr algn="r" defTabSz="914400" rtl="1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rgbClr val="25374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r" defTabSz="914400" rtl="1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AE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26" userDrawn="1">
          <p15:clr>
            <a:srgbClr val="F26B43"/>
          </p15:clr>
        </p15:guide>
        <p15:guide id="2" orient="horz" pos="3117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7FD89EA-6F54-2425-5547-1438A3D422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57953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3" imgH="473" progId="TCLayout.ActiveDocument.1">
                  <p:embed/>
                </p:oleObj>
              </mc:Choice>
              <mc:Fallback>
                <p:oleObj name="think-cell Slide" r:id="rId23" imgW="473" imgH="47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FD89EA-6F54-2425-5547-1438A3D422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Placeholder 11">
            <a:extLst>
              <a:ext uri="{FF2B5EF4-FFF2-40B4-BE49-F238E27FC236}">
                <a16:creationId xmlns:a16="http://schemas.microsoft.com/office/drawing/2014/main" id="{C676C2DF-A625-E666-16D7-3C989681F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049" y="274638"/>
            <a:ext cx="7825174" cy="274637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pic>
        <p:nvPicPr>
          <p:cNvPr id="2" name="Picture 1" descr="A purple circles on a black background&#10;&#10;Description automatically generated">
            <a:extLst>
              <a:ext uri="{FF2B5EF4-FFF2-40B4-BE49-F238E27FC236}">
                <a16:creationId xmlns:a16="http://schemas.microsoft.com/office/drawing/2014/main" id="{B4F99919-5438-A160-34E1-110DAFE5EB43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1732" y="240071"/>
            <a:ext cx="320062" cy="322572"/>
          </a:xfrm>
          <a:prstGeom prst="rect">
            <a:avLst/>
          </a:prstGeom>
        </p:spPr>
      </p:pic>
      <p:sp>
        <p:nvSpPr>
          <p:cNvPr id="3" name="object 37">
            <a:extLst>
              <a:ext uri="{FF2B5EF4-FFF2-40B4-BE49-F238E27FC236}">
                <a16:creationId xmlns:a16="http://schemas.microsoft.com/office/drawing/2014/main" id="{C195C401-8432-36F3-F93D-5D718FD0205E}"/>
              </a:ext>
            </a:extLst>
          </p:cNvPr>
          <p:cNvSpPr txBox="1"/>
          <p:nvPr userDrawn="1"/>
        </p:nvSpPr>
        <p:spPr>
          <a:xfrm>
            <a:off x="8374682" y="4786131"/>
            <a:ext cx="394210" cy="1751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6" algn="r">
              <a:lnSpc>
                <a:spcPts val="1616"/>
              </a:lnSpc>
            </a:pPr>
            <a:fld id="{4FC69F23-2E07-414A-8684-A0744552B4DF}" type="slidenum">
              <a:rPr lang="en-GB" sz="728" spc="5">
                <a:solidFill>
                  <a:srgbClr val="6300FF"/>
                </a:solidFill>
                <a:latin typeface="Arial"/>
                <a:cs typeface="Arial"/>
              </a:rPr>
              <a:pPr marL="5776" algn="r">
                <a:lnSpc>
                  <a:spcPts val="1616"/>
                </a:lnSpc>
              </a:pPr>
              <a:t>‹#›</a:t>
            </a:fld>
            <a:endParaRPr sz="728">
              <a:solidFill>
                <a:srgbClr val="6300FF"/>
              </a:solidFill>
              <a:latin typeface="Arial"/>
              <a:cs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4868AA8-FFFC-32FE-AD03-55B3370984D6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C51C411-F44B-5561-CC1B-34F326F49AB7}"/>
              </a:ext>
            </a:extLst>
          </p:cNvPr>
          <p:cNvSpPr txBox="1"/>
          <p:nvPr userDrawn="1"/>
        </p:nvSpPr>
        <p:spPr>
          <a:xfrm>
            <a:off x="275210" y="4795468"/>
            <a:ext cx="260115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15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700">
                <a:solidFill>
                  <a:srgbClr val="1D374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dvanced Technology Research Council</a:t>
            </a:r>
            <a:endParaRPr lang="en-US" sz="700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FC99AA86-0D00-29E4-D877-B679715072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0126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3980" r:id="rId2"/>
    <p:sldLayoutId id="2147483945" r:id="rId3"/>
    <p:sldLayoutId id="2147483981" r:id="rId4"/>
    <p:sldLayoutId id="2147483912" r:id="rId5"/>
    <p:sldLayoutId id="2147483982" r:id="rId6"/>
    <p:sldLayoutId id="2147483946" r:id="rId7"/>
    <p:sldLayoutId id="2147483983" r:id="rId8"/>
    <p:sldLayoutId id="2147483913" r:id="rId9"/>
    <p:sldLayoutId id="2147483984" r:id="rId10"/>
    <p:sldLayoutId id="2147483947" r:id="rId11"/>
    <p:sldLayoutId id="2147483985" r:id="rId12"/>
    <p:sldLayoutId id="2147483914" r:id="rId13"/>
    <p:sldLayoutId id="2147483986" r:id="rId14"/>
    <p:sldLayoutId id="2147483948" r:id="rId15"/>
    <p:sldLayoutId id="2147483987" r:id="rId16"/>
    <p:sldLayoutId id="2147483915" r:id="rId17"/>
    <p:sldLayoutId id="2147483988" r:id="rId18"/>
    <p:sldLayoutId id="2147483949" r:id="rId19"/>
    <p:sldLayoutId id="2147483989" r:id="rId20"/>
  </p:sldLayoutIdLst>
  <p:hf sldNum="0" hdr="0" ftr="0" dt="0"/>
  <p:txStyles>
    <p:titleStyle>
      <a:lvl1pPr algn="r" defTabSz="914400" rtl="1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rgbClr val="25374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r" defTabSz="914400" rtl="1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AE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C2FA907-52EA-33F1-9FC5-1CCF491DE1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05617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73" imgH="473" progId="TCLayout.ActiveDocument.1">
                  <p:embed/>
                </p:oleObj>
              </mc:Choice>
              <mc:Fallback>
                <p:oleObj name="think-cell Slide" r:id="rId17" imgW="473" imgH="473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2FA907-52EA-33F1-9FC5-1CCF491DE1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A3F29699-8C27-9A8E-F5B4-6C1D2216B504}"/>
              </a:ext>
            </a:extLst>
          </p:cNvPr>
          <p:cNvSpPr/>
          <p:nvPr userDrawn="1"/>
        </p:nvSpPr>
        <p:spPr>
          <a:xfrm>
            <a:off x="424553" y="1036706"/>
            <a:ext cx="8310313" cy="3621093"/>
          </a:xfrm>
          <a:prstGeom prst="rect">
            <a:avLst/>
          </a:prstGeom>
          <a:solidFill>
            <a:schemeClr val="bg1">
              <a:alpha val="49872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01FCD3F-9744-AA7F-A4CF-A85F1DFA20E3}"/>
              </a:ext>
            </a:extLst>
          </p:cNvPr>
          <p:cNvSpPr/>
          <p:nvPr userDrawn="1"/>
        </p:nvSpPr>
        <p:spPr>
          <a:xfrm>
            <a:off x="418057" y="761203"/>
            <a:ext cx="8310313" cy="4011560"/>
          </a:xfrm>
          <a:prstGeom prst="rect">
            <a:avLst/>
          </a:prstGeom>
          <a:solidFill>
            <a:schemeClr val="bg1">
              <a:alpha val="7120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object 37">
            <a:extLst>
              <a:ext uri="{FF2B5EF4-FFF2-40B4-BE49-F238E27FC236}">
                <a16:creationId xmlns:a16="http://schemas.microsoft.com/office/drawing/2014/main" id="{3252C52D-40B7-E7C9-1D57-6EC988C3C3A7}"/>
              </a:ext>
            </a:extLst>
          </p:cNvPr>
          <p:cNvSpPr txBox="1"/>
          <p:nvPr userDrawn="1"/>
        </p:nvSpPr>
        <p:spPr>
          <a:xfrm>
            <a:off x="8374682" y="4786131"/>
            <a:ext cx="394210" cy="1751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6" algn="r">
              <a:lnSpc>
                <a:spcPts val="1616"/>
              </a:lnSpc>
            </a:pPr>
            <a:fld id="{4FC69F23-2E07-414A-8684-A0744552B4DF}" type="slidenum">
              <a:rPr lang="en-GB" sz="700" spc="5">
                <a:solidFill>
                  <a:srgbClr val="6300FF"/>
                </a:solidFill>
                <a:latin typeface="Arial"/>
                <a:cs typeface="Arial"/>
              </a:rPr>
              <a:pPr marL="5776" algn="r">
                <a:lnSpc>
                  <a:spcPts val="1616"/>
                </a:lnSpc>
              </a:pPr>
              <a:t>‹#›</a:t>
            </a:fld>
            <a:endParaRPr sz="700" dirty="0">
              <a:solidFill>
                <a:srgbClr val="6300FF"/>
              </a:solidFill>
              <a:latin typeface="Arial"/>
              <a:cs typeface="Arial"/>
            </a:endParaRPr>
          </a:p>
        </p:txBody>
      </p:sp>
      <p:sp>
        <p:nvSpPr>
          <p:cNvPr id="12" name="Title Placeholder 11">
            <a:extLst>
              <a:ext uri="{FF2B5EF4-FFF2-40B4-BE49-F238E27FC236}">
                <a16:creationId xmlns:a16="http://schemas.microsoft.com/office/drawing/2014/main" id="{C676C2DF-A625-E666-16D7-3C989681F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049" y="274638"/>
            <a:ext cx="7825174" cy="274637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pic>
        <p:nvPicPr>
          <p:cNvPr id="14" name="Picture 13" descr="A purple circles on a black background&#10;&#10;Description automatically generated">
            <a:extLst>
              <a:ext uri="{FF2B5EF4-FFF2-40B4-BE49-F238E27FC236}">
                <a16:creationId xmlns:a16="http://schemas.microsoft.com/office/drawing/2014/main" id="{00F54C09-08CC-746D-7CAF-B3242E452881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1732" y="240071"/>
            <a:ext cx="320062" cy="32257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35401F3-89CD-2C4C-49DE-F46AC4DC3754}"/>
              </a:ext>
            </a:extLst>
          </p:cNvPr>
          <p:cNvSpPr txBox="1"/>
          <p:nvPr userDrawn="1"/>
        </p:nvSpPr>
        <p:spPr>
          <a:xfrm>
            <a:off x="275210" y="4795468"/>
            <a:ext cx="260115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15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700">
                <a:solidFill>
                  <a:srgbClr val="1D374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dvanced Technology Research Council</a:t>
            </a:r>
            <a:endParaRPr lang="en-US" sz="700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55961549-2AC6-4893-028C-D082399F2C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9597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4033" r:id="rId2"/>
    <p:sldLayoutId id="2147484034" r:id="rId3"/>
    <p:sldLayoutId id="2147484035" r:id="rId4"/>
    <p:sldLayoutId id="2147484036" r:id="rId5"/>
    <p:sldLayoutId id="2147484037" r:id="rId6"/>
    <p:sldLayoutId id="2147484038" r:id="rId7"/>
    <p:sldLayoutId id="2147484039" r:id="rId8"/>
    <p:sldLayoutId id="2147484040" r:id="rId9"/>
    <p:sldLayoutId id="2147484041" r:id="rId10"/>
    <p:sldLayoutId id="2147484042" r:id="rId11"/>
    <p:sldLayoutId id="2147484043" r:id="rId12"/>
    <p:sldLayoutId id="2147484044" r:id="rId13"/>
    <p:sldLayoutId id="2147484045" r:id="rId14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rgbClr val="25374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A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17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162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A08BD5-2EDE-AE4B-1B35-C77149EE867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17" y="1868"/>
            <a:ext cx="9144000" cy="513976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F1194A1-77AF-A867-2B18-D8FC68F84FB5}"/>
              </a:ext>
            </a:extLst>
          </p:cNvPr>
          <p:cNvSpPr/>
          <p:nvPr userDrawn="1"/>
        </p:nvSpPr>
        <p:spPr>
          <a:xfrm>
            <a:off x="-517" y="-1868"/>
            <a:ext cx="9144000" cy="5143500"/>
          </a:xfrm>
          <a:prstGeom prst="rect">
            <a:avLst/>
          </a:prstGeom>
          <a:solidFill>
            <a:srgbClr val="243646">
              <a:alpha val="47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 dirty="0"/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C2FA907-52EA-33F1-9FC5-1CCF491DE1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005617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2FA907-52EA-33F1-9FC5-1CCF491DE1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37">
            <a:extLst>
              <a:ext uri="{FF2B5EF4-FFF2-40B4-BE49-F238E27FC236}">
                <a16:creationId xmlns:a16="http://schemas.microsoft.com/office/drawing/2014/main" id="{3252C52D-40B7-E7C9-1D57-6EC988C3C3A7}"/>
              </a:ext>
            </a:extLst>
          </p:cNvPr>
          <p:cNvSpPr txBox="1"/>
          <p:nvPr userDrawn="1"/>
        </p:nvSpPr>
        <p:spPr>
          <a:xfrm>
            <a:off x="8374682" y="4786131"/>
            <a:ext cx="394210" cy="1751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6" algn="r">
              <a:lnSpc>
                <a:spcPts val="1616"/>
              </a:lnSpc>
            </a:pPr>
            <a:fld id="{4FC69F23-2E07-414A-8684-A0744552B4DF}" type="slidenum">
              <a:rPr lang="en-GB" sz="700" spc="5">
                <a:solidFill>
                  <a:schemeClr val="bg1"/>
                </a:solidFill>
                <a:latin typeface="Arial"/>
                <a:cs typeface="Arial"/>
              </a:rPr>
              <a:pPr marL="5776" algn="r">
                <a:lnSpc>
                  <a:spcPts val="1616"/>
                </a:lnSpc>
              </a:pPr>
              <a:t>‹#›</a:t>
            </a:fld>
            <a:endParaRPr sz="7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2" name="Title Placeholder 11">
            <a:extLst>
              <a:ext uri="{FF2B5EF4-FFF2-40B4-BE49-F238E27FC236}">
                <a16:creationId xmlns:a16="http://schemas.microsoft.com/office/drawing/2014/main" id="{C676C2DF-A625-E666-16D7-3C989681F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049" y="274638"/>
            <a:ext cx="7825174" cy="274637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35401F3-89CD-2C4C-49DE-F46AC4DC3754}"/>
              </a:ext>
            </a:extLst>
          </p:cNvPr>
          <p:cNvSpPr txBox="1"/>
          <p:nvPr userDrawn="1"/>
        </p:nvSpPr>
        <p:spPr>
          <a:xfrm>
            <a:off x="275210" y="4795468"/>
            <a:ext cx="260115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15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7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dvanced Technology Research Council</a:t>
            </a:r>
            <a:endParaRPr lang="en-US" sz="700" dirty="0">
              <a:solidFill>
                <a:schemeClr val="bg1"/>
              </a:solidFill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55961549-2AC6-4893-028C-D082399F2C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800" y="4627411"/>
            <a:ext cx="6237837" cy="135480"/>
          </a:xfrm>
          <a:prstGeom prst="rect">
            <a:avLst/>
          </a:prstGeom>
        </p:spPr>
        <p:txBody>
          <a:bodyPr lIns="0"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9" name="Picture 13">
            <a:extLst>
              <a:ext uri="{FF2B5EF4-FFF2-40B4-BE49-F238E27FC236}">
                <a16:creationId xmlns:a16="http://schemas.microsoft.com/office/drawing/2014/main" id="{8F874C24-2470-4B77-BC49-0C5B37142233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8479723" y="235333"/>
            <a:ext cx="373555" cy="359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5784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7" r:id="rId1"/>
    <p:sldLayoutId id="2147484048" r:id="rId2"/>
    <p:sldLayoutId id="2147484049" r:id="rId3"/>
    <p:sldLayoutId id="2147484050" r:id="rId4"/>
    <p:sldLayoutId id="2147484051" r:id="rId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A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17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16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31.xml"/><Relationship Id="rId4" Type="http://schemas.openxmlformats.org/officeDocument/2006/relationships/image" Target="../media/image40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33.xml"/><Relationship Id="rId5" Type="http://schemas.openxmlformats.org/officeDocument/2006/relationships/image" Target="../media/image42.jpeg"/><Relationship Id="rId4" Type="http://schemas.openxmlformats.org/officeDocument/2006/relationships/image" Target="../media/image41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35.xml"/><Relationship Id="rId4" Type="http://schemas.openxmlformats.org/officeDocument/2006/relationships/image" Target="../media/image43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37.xml"/><Relationship Id="rId4" Type="http://schemas.openxmlformats.org/officeDocument/2006/relationships/image" Target="../media/image44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39.xml"/><Relationship Id="rId4" Type="http://schemas.openxmlformats.org/officeDocument/2006/relationships/image" Target="../media/image45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41.xml"/><Relationship Id="rId4" Type="http://schemas.openxmlformats.org/officeDocument/2006/relationships/image" Target="../media/image46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43.xml"/><Relationship Id="rId4" Type="http://schemas.openxmlformats.org/officeDocument/2006/relationships/image" Target="../media/image47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45.xml"/><Relationship Id="rId4" Type="http://schemas.openxmlformats.org/officeDocument/2006/relationships/image" Target="../media/image48.jpeg"/></Relationships>
</file>

<file path=ppt/slides/_rels/slide18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47.xml"/><Relationship Id="rId6" Type="http://schemas.openxmlformats.org/officeDocument/2006/relationships/image" Target="../media/image51.jpeg"/><Relationship Id="rId5" Type="http://schemas.openxmlformats.org/officeDocument/2006/relationships/image" Target="../media/image50.gif"/><Relationship Id="rId4" Type="http://schemas.openxmlformats.org/officeDocument/2006/relationships/image" Target="../media/image49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49.xml"/><Relationship Id="rId5" Type="http://schemas.openxmlformats.org/officeDocument/2006/relationships/image" Target="../media/image38.svg"/><Relationship Id="rId4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5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51.xml"/><Relationship Id="rId5" Type="http://schemas.openxmlformats.org/officeDocument/2006/relationships/image" Target="../media/image38.svg"/><Relationship Id="rId4" Type="http://schemas.openxmlformats.org/officeDocument/2006/relationships/image" Target="../media/image3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58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53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13" Type="http://schemas.openxmlformats.org/officeDocument/2006/relationships/image" Target="../media/image68.png"/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62.png"/><Relationship Id="rId12" Type="http://schemas.openxmlformats.org/officeDocument/2006/relationships/image" Target="../media/image67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55.xml"/><Relationship Id="rId6" Type="http://schemas.openxmlformats.org/officeDocument/2006/relationships/image" Target="../media/image61.png"/><Relationship Id="rId11" Type="http://schemas.openxmlformats.org/officeDocument/2006/relationships/image" Target="../media/image66.png"/><Relationship Id="rId5" Type="http://schemas.openxmlformats.org/officeDocument/2006/relationships/image" Target="../media/image60.png"/><Relationship Id="rId10" Type="http://schemas.openxmlformats.org/officeDocument/2006/relationships/image" Target="../media/image65.png"/><Relationship Id="rId4" Type="http://schemas.openxmlformats.org/officeDocument/2006/relationships/image" Target="../media/image59.png"/><Relationship Id="rId9" Type="http://schemas.openxmlformats.org/officeDocument/2006/relationships/image" Target="../media/image64.png"/><Relationship Id="rId14" Type="http://schemas.openxmlformats.org/officeDocument/2006/relationships/image" Target="../media/image69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7" Type="http://schemas.openxmlformats.org/officeDocument/2006/relationships/image" Target="../media/image73.sv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57.xml"/><Relationship Id="rId6" Type="http://schemas.openxmlformats.org/officeDocument/2006/relationships/image" Target="../media/image72.png"/><Relationship Id="rId5" Type="http://schemas.openxmlformats.org/officeDocument/2006/relationships/image" Target="../media/image71.svg"/><Relationship Id="rId4" Type="http://schemas.openxmlformats.org/officeDocument/2006/relationships/image" Target="../media/image7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76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76.sv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59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2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6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6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6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82.png"/><Relationship Id="rId5" Type="http://schemas.openxmlformats.org/officeDocument/2006/relationships/image" Target="../media/image81.png"/><Relationship Id="rId4" Type="http://schemas.openxmlformats.org/officeDocument/2006/relationships/hyperlink" Target="https://forms.office.com/r/xveZ7mtT2i" TargetMode="Externa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image" Target="../media/image74.png"/><Relationship Id="rId7" Type="http://schemas.openxmlformats.org/officeDocument/2006/relationships/image" Target="../media/image69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84.png"/><Relationship Id="rId5" Type="http://schemas.openxmlformats.org/officeDocument/2006/relationships/image" Target="../media/image83.png"/><Relationship Id="rId4" Type="http://schemas.openxmlformats.org/officeDocument/2006/relationships/hyperlink" Target="http://www.atrc.gov.ae/ffcp/" TargetMode="External"/><Relationship Id="rId9" Type="http://schemas.openxmlformats.org/officeDocument/2006/relationships/hyperlink" Target="http://www.atrc.gov.ae/" TargetMode="Externa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6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0.xml"/><Relationship Id="rId6" Type="http://schemas.openxmlformats.org/officeDocument/2006/relationships/hyperlink" Target="https://forms.office.com/r/6KJg4uGLVw" TargetMode="External"/><Relationship Id="rId5" Type="http://schemas.openxmlformats.org/officeDocument/2006/relationships/image" Target="../media/image88.png"/><Relationship Id="rId4" Type="http://schemas.openxmlformats.org/officeDocument/2006/relationships/image" Target="../media/image87.sv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jpeg"/><Relationship Id="rId13" Type="http://schemas.openxmlformats.org/officeDocument/2006/relationships/image" Target="../media/image96.jpeg"/><Relationship Id="rId18" Type="http://schemas.openxmlformats.org/officeDocument/2006/relationships/image" Target="../media/image101.png"/><Relationship Id="rId3" Type="http://schemas.openxmlformats.org/officeDocument/2006/relationships/notesSlide" Target="../notesSlides/notesSlide37.xml"/><Relationship Id="rId7" Type="http://schemas.openxmlformats.org/officeDocument/2006/relationships/image" Target="../media/image90.emf"/><Relationship Id="rId12" Type="http://schemas.openxmlformats.org/officeDocument/2006/relationships/image" Target="../media/image95.png"/><Relationship Id="rId17" Type="http://schemas.openxmlformats.org/officeDocument/2006/relationships/image" Target="../media/image100.png"/><Relationship Id="rId2" Type="http://schemas.openxmlformats.org/officeDocument/2006/relationships/slideLayout" Target="../slideLayouts/slideLayout71.xml"/><Relationship Id="rId16" Type="http://schemas.openxmlformats.org/officeDocument/2006/relationships/image" Target="../media/image99.jpeg"/><Relationship Id="rId1" Type="http://schemas.openxmlformats.org/officeDocument/2006/relationships/tags" Target="../tags/tag69.xml"/><Relationship Id="rId6" Type="http://schemas.openxmlformats.org/officeDocument/2006/relationships/image" Target="../media/image89.emf"/><Relationship Id="rId11" Type="http://schemas.openxmlformats.org/officeDocument/2006/relationships/image" Target="../media/image94.jpeg"/><Relationship Id="rId5" Type="http://schemas.openxmlformats.org/officeDocument/2006/relationships/image" Target="../media/image1.emf"/><Relationship Id="rId15" Type="http://schemas.openxmlformats.org/officeDocument/2006/relationships/image" Target="../media/image98.png"/><Relationship Id="rId10" Type="http://schemas.openxmlformats.org/officeDocument/2006/relationships/image" Target="../media/image93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92.jpeg"/><Relationship Id="rId14" Type="http://schemas.openxmlformats.org/officeDocument/2006/relationships/image" Target="../media/image97.jpe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hyperlink" Target="https://pxhere.com/en/photo/627053" TargetMode="External"/><Relationship Id="rId18" Type="http://schemas.openxmlformats.org/officeDocument/2006/relationships/image" Target="../media/image26.jpeg"/><Relationship Id="rId26" Type="http://schemas.openxmlformats.org/officeDocument/2006/relationships/image" Target="../media/image30.jpeg"/><Relationship Id="rId3" Type="http://schemas.openxmlformats.org/officeDocument/2006/relationships/slideLayout" Target="../slideLayouts/slideLayout20.xml"/><Relationship Id="rId21" Type="http://schemas.openxmlformats.org/officeDocument/2006/relationships/hyperlink" Target="https://www.pexels.com/photo/bulb-close-up-electricity-energy-577514/" TargetMode="External"/><Relationship Id="rId7" Type="http://schemas.openxmlformats.org/officeDocument/2006/relationships/image" Target="../media/image20.png"/><Relationship Id="rId12" Type="http://schemas.openxmlformats.org/officeDocument/2006/relationships/image" Target="../media/image23.jpeg"/><Relationship Id="rId17" Type="http://schemas.openxmlformats.org/officeDocument/2006/relationships/hyperlink" Target="https://www.flickr.com/photos/quinet/26081311682" TargetMode="External"/><Relationship Id="rId25" Type="http://schemas.openxmlformats.org/officeDocument/2006/relationships/hyperlink" Target="https://www.cato.org/blog/united-states-remains-manufacturing-powerhouse" TargetMode="External"/><Relationship Id="rId2" Type="http://schemas.openxmlformats.org/officeDocument/2006/relationships/tags" Target="../tags/tag23.xml"/><Relationship Id="rId16" Type="http://schemas.openxmlformats.org/officeDocument/2006/relationships/image" Target="../media/image25.jpeg"/><Relationship Id="rId20" Type="http://schemas.openxmlformats.org/officeDocument/2006/relationships/image" Target="../media/image27.jpeg"/><Relationship Id="rId1" Type="http://schemas.openxmlformats.org/officeDocument/2006/relationships/tags" Target="../tags/tag22.xml"/><Relationship Id="rId6" Type="http://schemas.openxmlformats.org/officeDocument/2006/relationships/image" Target="../media/image19.jpeg"/><Relationship Id="rId11" Type="http://schemas.openxmlformats.org/officeDocument/2006/relationships/hyperlink" Target="https://www.wallpaperflare.com/search?wallpaper=watermill" TargetMode="External"/><Relationship Id="rId24" Type="http://schemas.openxmlformats.org/officeDocument/2006/relationships/image" Target="../media/image29.jpeg"/><Relationship Id="rId5" Type="http://schemas.openxmlformats.org/officeDocument/2006/relationships/image" Target="../media/image18.jpeg"/><Relationship Id="rId15" Type="http://schemas.openxmlformats.org/officeDocument/2006/relationships/hyperlink" Target="https://commons.wikimedia.org/wiki/File:Alarm_Clocks_20101107a.jpg" TargetMode="External"/><Relationship Id="rId23" Type="http://schemas.openxmlformats.org/officeDocument/2006/relationships/hyperlink" Target="https://www.photophoto.cn/pic/39174418.html" TargetMode="External"/><Relationship Id="rId10" Type="http://schemas.openxmlformats.org/officeDocument/2006/relationships/image" Target="../media/image22.jpeg"/><Relationship Id="rId19" Type="http://schemas.openxmlformats.org/officeDocument/2006/relationships/hyperlink" Target="https://pxhere.com/en/photo/678565" TargetMode="External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21.jpeg"/><Relationship Id="rId14" Type="http://schemas.openxmlformats.org/officeDocument/2006/relationships/image" Target="../media/image24.jpeg"/><Relationship Id="rId22" Type="http://schemas.openxmlformats.org/officeDocument/2006/relationships/image" Target="../media/image28.jpeg"/><Relationship Id="rId27" Type="http://schemas.openxmlformats.org/officeDocument/2006/relationships/hyperlink" Target="https://pxhere.com/en/photo/1085554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13" Type="http://schemas.openxmlformats.org/officeDocument/2006/relationships/image" Target="../media/image36.png"/><Relationship Id="rId3" Type="http://schemas.openxmlformats.org/officeDocument/2006/relationships/notesSlide" Target="../notesSlides/notesSlide5.xml"/><Relationship Id="rId7" Type="http://schemas.openxmlformats.org/officeDocument/2006/relationships/hyperlink" Target="https://pxhere.com/en/photo/683427" TargetMode="External"/><Relationship Id="rId12" Type="http://schemas.openxmlformats.org/officeDocument/2006/relationships/image" Target="../media/image35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5.xml"/><Relationship Id="rId6" Type="http://schemas.openxmlformats.org/officeDocument/2006/relationships/image" Target="../media/image32.jpeg"/><Relationship Id="rId11" Type="http://schemas.openxmlformats.org/officeDocument/2006/relationships/hyperlink" Target="https://pxhere.com/en/photo/1614096" TargetMode="External"/><Relationship Id="rId5" Type="http://schemas.openxmlformats.org/officeDocument/2006/relationships/hyperlink" Target="https://www.cuvsi.com/2018/10/desarrollo-aplicaciones-dispositivos-moviles.html?m=0" TargetMode="External"/><Relationship Id="rId10" Type="http://schemas.openxmlformats.org/officeDocument/2006/relationships/image" Target="../media/image34.jpeg"/><Relationship Id="rId4" Type="http://schemas.openxmlformats.org/officeDocument/2006/relationships/image" Target="../media/image31.jpg"/><Relationship Id="rId9" Type="http://schemas.openxmlformats.org/officeDocument/2006/relationships/hyperlink" Target="https://foto.wuestenigel.com/hand-holding-smartphone-to-control-the-robot-vacuum-cleaner/" TargetMode="External"/><Relationship Id="rId14" Type="http://schemas.openxmlformats.org/officeDocument/2006/relationships/hyperlink" Target="https://waksoft.susu.ru/2021/05/29/birds-eye-view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27.xml"/><Relationship Id="rId5" Type="http://schemas.openxmlformats.org/officeDocument/2006/relationships/image" Target="../media/image38.svg"/><Relationship Id="rId4" Type="http://schemas.openxmlformats.org/officeDocument/2006/relationships/image" Target="../media/image3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29.xml"/><Relationship Id="rId4" Type="http://schemas.openxmlformats.org/officeDocument/2006/relationships/image" Target="../media/image3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665C4D9-8659-E221-61F8-72C224731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98306" y="2232555"/>
            <a:ext cx="7498484" cy="914400"/>
          </a:xfrm>
        </p:spPr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ar-sa" sz="4800" b="1" i="0" u="none" strike="noStrike" cap="none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 مَن يبني المستقبل؟</a:t>
            </a:r>
          </a:p>
          <a:p>
            <a:endParaRPr lang="en-US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5CF487-3392-A6F9-CA8D-85235E084BC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98306" y="3079697"/>
            <a:ext cx="7498484" cy="492125"/>
          </a:xfrm>
        </p:spPr>
        <p:txBody>
          <a:bodyPr/>
          <a:lstStyle/>
          <a:p>
            <a:r>
              <a:rPr lang="ar-sa" sz="24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مسارات مهنية تواكب الغد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A13228D-EBE7-C99F-08D3-11BD332C508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37334" y="3864131"/>
            <a:ext cx="3598436" cy="211240"/>
          </a:xfrm>
        </p:spPr>
        <p:txBody>
          <a:bodyPr/>
          <a:lstStyle/>
          <a:p>
            <a:r>
              <a:rPr lang="ar-sa" dirty="0">
                <a:latin typeface="Sakkal Majalla" panose="02000000000000000000" pitchFamily="2" charset="-78"/>
                <a:cs typeface="Sakkal Majalla" panose="02000000000000000000" pitchFamily="2" charset="-78"/>
              </a:rPr>
              <a:t>2025</a:t>
            </a:r>
          </a:p>
        </p:txBody>
      </p:sp>
      <p:sp>
        <p:nvSpPr>
          <p:cNvPr id="8" name="BJPseudoFooter">
            <a:extLst>
              <a:ext uri="{FF2B5EF4-FFF2-40B4-BE49-F238E27FC236}">
                <a16:creationId xmlns:a16="http://schemas.microsoft.com/office/drawing/2014/main" id="{5A490B1F-F928-4AB9-91FF-7E6354D1343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465240" y="4925107"/>
            <a:ext cx="213520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/>
            <a:r>
              <a:rPr lang="en-US" sz="800" b="1" dirty="0">
                <a:solidFill>
                  <a:srgbClr val="4472C4"/>
                </a:solidFill>
              </a:rPr>
              <a:t> </a:t>
            </a:r>
            <a:endParaRPr lang="en-AE" sz="800" b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77948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4A7C7E-38E6-29F3-19BA-42E593DB03B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US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8B80010-5735-D2A1-32DC-0189680E3E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260" y="274638"/>
            <a:ext cx="1355091" cy="274637"/>
          </a:xfrm>
        </p:spPr>
        <p:txBody>
          <a:bodyPr/>
          <a:lstStyle/>
          <a:p>
            <a:r>
              <a:rPr lang="ar-sa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تسوق في المستقبل
</a:t>
            </a:r>
            <a:br>
              <a:rPr lang="ar-AE" dirty="0">
                <a:latin typeface="Sakkal Majalla" panose="02000000000000000000" pitchFamily="2" charset="-78"/>
                <a:cs typeface="Sakkal Majalla" panose="02000000000000000000" pitchFamily="2" charset="-78"/>
              </a:rPr>
            </a:br>
            <a:r>
              <a:rPr lang="ar-sa" dirty="0">
                <a:latin typeface="Sakkal Majalla" panose="02000000000000000000" pitchFamily="2" charset="-78"/>
                <a:cs typeface="Sakkal Majalla" panose="02000000000000000000" pitchFamily="2" charset="-78"/>
              </a:rPr>
              <a:t>1965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862A02B-873E-38EA-DC40-DADE7051682A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en-US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7170" name="Picture 2" descr="Future Shopping">
            <a:extLst>
              <a:ext uri="{FF2B5EF4-FFF2-40B4-BE49-F238E27FC236}">
                <a16:creationId xmlns:a16="http://schemas.microsoft.com/office/drawing/2014/main" id="{3AB5FE86-86A1-2393-3BE2-0F333805D8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30350" y="0"/>
            <a:ext cx="761365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C0FB24-BFDC-479D-9FE0-486FB0459485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20388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AAA1EE-9372-23CC-F2BB-46F38298103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US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C2D0BFB-86C1-3C15-7166-BCFD3965FB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7252" y="274638"/>
            <a:ext cx="3042615" cy="274637"/>
          </a:xfrm>
        </p:spPr>
        <p:txBody>
          <a:bodyPr/>
          <a:lstStyle/>
          <a:p>
            <a:r>
              <a:rPr lang="ar-sa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سيارة ذاتية القيادة في الخمسينيات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7A7C5DC-0DDC-DE51-C254-C0AC75F51EFA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en-US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8194" name="Picture 2" descr="Self Driving Cars Illustration">
            <a:extLst>
              <a:ext uri="{FF2B5EF4-FFF2-40B4-BE49-F238E27FC236}">
                <a16:creationId xmlns:a16="http://schemas.microsoft.com/office/drawing/2014/main" id="{2A336147-5C0E-2D0C-9327-D3CB8B8316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57625" y="0"/>
            <a:ext cx="5286375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6" name="Picture 4" descr="Self Driving Car Retro Futurism Art">
            <a:extLst>
              <a:ext uri="{FF2B5EF4-FFF2-40B4-BE49-F238E27FC236}">
                <a16:creationId xmlns:a16="http://schemas.microsoft.com/office/drawing/2014/main" id="{47957830-F985-2641-067F-EFBDC3383B8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50610" y="1600798"/>
            <a:ext cx="3349257" cy="2952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03CC6D5-1B9D-409C-A415-0B256FAC28B7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22316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3AE9269-8F98-9B7E-942E-A289FCBDA7F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US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74F17AC-1BB5-10AA-9133-75B16806C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74638"/>
            <a:ext cx="1821815" cy="274637"/>
          </a:xfrm>
        </p:spPr>
        <p:txBody>
          <a:bodyPr/>
          <a:lstStyle/>
          <a:p>
            <a:r>
              <a:rPr lang="ar-sa" dirty="0">
                <a:latin typeface="Sakkal Majalla" panose="02000000000000000000" pitchFamily="2" charset="-78"/>
                <a:cs typeface="Sakkal Majalla" panose="02000000000000000000" pitchFamily="2" charset="-78"/>
              </a:rPr>
              <a:t>رحلات جوية فوق باريس سنة 2000 بينما يغادر الناس دار الأوبرا</a:t>
            </a:r>
            <a:br>
              <a:rPr lang="ar-AE" dirty="0">
                <a:latin typeface="Sakkal Majalla" panose="02000000000000000000" pitchFamily="2" charset="-78"/>
                <a:cs typeface="Sakkal Majalla" panose="02000000000000000000" pitchFamily="2" charset="-78"/>
              </a:rPr>
            </a:br>
            <a:br>
              <a:rPr lang="ar-AE" dirty="0">
                <a:latin typeface="Sakkal Majalla" panose="02000000000000000000" pitchFamily="2" charset="-78"/>
                <a:cs typeface="Sakkal Majalla" panose="02000000000000000000" pitchFamily="2" charset="-78"/>
              </a:rPr>
            </a:br>
            <a:r>
              <a:rPr lang="ar-sa" dirty="0">
                <a:latin typeface="Sakkal Majalla" panose="02000000000000000000" pitchFamily="2" charset="-78"/>
                <a:cs typeface="Sakkal Majalla" panose="02000000000000000000" pitchFamily="2" charset="-78"/>
              </a:rPr>
              <a:t>تصوّر ألبير</a:t>
            </a:r>
            <a:r>
              <a:rPr lang="ar-AE" dirty="0"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ar-sa" dirty="0" err="1">
                <a:latin typeface="Sakkal Majalla" panose="02000000000000000000" pitchFamily="2" charset="-78"/>
                <a:cs typeface="Sakkal Majalla" panose="02000000000000000000" pitchFamily="2" charset="-78"/>
              </a:rPr>
              <a:t>روبيدا</a:t>
            </a:r>
            <a:r>
              <a:rPr lang="ar-sa" dirty="0">
                <a:latin typeface="Sakkal Majalla" panose="02000000000000000000" pitchFamily="2" charset="-78"/>
                <a:cs typeface="Sakkal Majalla" panose="02000000000000000000" pitchFamily="2" charset="-78"/>
              </a:rPr>
              <a:t> عام 1882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1DBF3B8-9A31-645E-F830-D877A63E26CD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en-US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6146" name="Picture 2" descr="Retrofuturism Air Travel Over Paris In Year 2000">
            <a:extLst>
              <a:ext uri="{FF2B5EF4-FFF2-40B4-BE49-F238E27FC236}">
                <a16:creationId xmlns:a16="http://schemas.microsoft.com/office/drawing/2014/main" id="{4F828E52-0A2F-6300-F84A-C9B8A93CF0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324100" y="0"/>
            <a:ext cx="68199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B6F8F5-E5A5-479C-83BE-DA40611F4C5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96405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7E6641-FE23-B3D3-EE6C-D65C073C133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US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D81B2A3-2A14-6FF5-D785-2D6EF5C7DF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049" y="274638"/>
            <a:ext cx="1486611" cy="274637"/>
          </a:xfrm>
        </p:spPr>
        <p:txBody>
          <a:bodyPr/>
          <a:lstStyle/>
          <a:p>
            <a:r>
              <a:rPr lang="ar-sa">
                <a:latin typeface="Sakkal Majalla" panose="02000000000000000000" pitchFamily="2" charset="-78"/>
                <a:cs typeface="Sakkal Majalla" panose="02000000000000000000" pitchFamily="2" charset="-78"/>
              </a:rPr>
              <a:t>التسوّق من المنزل في الأربعينيات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8E785F1-E100-4D55-6803-944D6CC4A0E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en-US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17410" name="Picture 2">
            <a:extLst>
              <a:ext uri="{FF2B5EF4-FFF2-40B4-BE49-F238E27FC236}">
                <a16:creationId xmlns:a16="http://schemas.microsoft.com/office/drawing/2014/main" id="{8363596C-05E6-6233-BEAB-19DE8B6F19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25189" y="0"/>
            <a:ext cx="7215331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9CA992A-7D74-4061-BC8C-81878071B101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99531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F9F552-A312-10A2-E6AF-3D65071EC7D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US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8E003FB-989B-F956-0BD1-D6020D1E8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049" y="274638"/>
            <a:ext cx="2938983" cy="274637"/>
          </a:xfrm>
        </p:spPr>
        <p:txBody>
          <a:bodyPr/>
          <a:lstStyle/>
          <a:p>
            <a:r>
              <a:rPr lang="ar-sa" dirty="0">
                <a:latin typeface="Sakkal Majalla" panose="02000000000000000000" pitchFamily="2" charset="-78"/>
                <a:cs typeface="Sakkal Majalla" panose="02000000000000000000" pitchFamily="2" charset="-78"/>
              </a:rPr>
              <a:t>تقنية الطرد المركزي لإحياء الشباب وتجديد العمر </a:t>
            </a:r>
            <a:r>
              <a:rPr lang="ar-AE" dirty="0">
                <a:latin typeface="Sakkal Majalla" panose="02000000000000000000" pitchFamily="2" charset="-78"/>
                <a:cs typeface="Sakkal Majalla" panose="02000000000000000000" pitchFamily="2" charset="-78"/>
              </a:rPr>
              <a:t> - </a:t>
            </a:r>
            <a:r>
              <a:rPr lang="ar-sa" dirty="0">
                <a:latin typeface="Sakkal Majalla" panose="02000000000000000000" pitchFamily="2" charset="-78"/>
                <a:cs typeface="Sakkal Majalla" panose="02000000000000000000" pitchFamily="2" charset="-78"/>
              </a:rPr>
              <a:t>193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927A709-9455-A99D-B7FE-3AFEE99784D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en-US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5122" name="Picture 2" descr="Painting Of Retrofuturism Reverse Aging Process">
            <a:extLst>
              <a:ext uri="{FF2B5EF4-FFF2-40B4-BE49-F238E27FC236}">
                <a16:creationId xmlns:a16="http://schemas.microsoft.com/office/drawing/2014/main" id="{7D336A90-D114-9053-3331-05751FD318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52813" y="0"/>
            <a:ext cx="5691187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B77EDC7-B536-4CCB-987C-A52BF0870BF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8435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3E89ABD-A663-D4A0-35B5-256541C83BC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F68B6DB-8638-EDC0-19B1-A2A1961690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2892" y="274638"/>
            <a:ext cx="7825174" cy="274637"/>
          </a:xfrm>
        </p:spPr>
        <p:txBody>
          <a:bodyPr/>
          <a:lstStyle/>
          <a:p>
            <a:r>
              <a:rPr lang="ar-sa" dirty="0">
                <a:latin typeface="Sakkal Majalla" panose="02000000000000000000" pitchFamily="2" charset="-78"/>
                <a:cs typeface="Sakkal Majalla" panose="02000000000000000000" pitchFamily="2" charset="-78"/>
              </a:rPr>
              <a:t>لمحة مستقبلية: ليموزين بأبواب فراشة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1A0CB97-9BFF-32BB-52A6-7000454E835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en-US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9218" name="Picture 2" descr="Car Concept Drawing">
            <a:extLst>
              <a:ext uri="{FF2B5EF4-FFF2-40B4-BE49-F238E27FC236}">
                <a16:creationId xmlns:a16="http://schemas.microsoft.com/office/drawing/2014/main" id="{8DE86CBE-3792-1481-3226-8491A4B225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0209" y="661801"/>
            <a:ext cx="8235951" cy="4081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F383BBA-E6DF-4D35-87A8-F6DBB6230EF4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33725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FEF154-B761-7D81-E5BD-AE1FAFCDF51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US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3DD14-3349-4CA7-E49F-5361F9F0CF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049" y="274638"/>
            <a:ext cx="1357071" cy="274637"/>
          </a:xfrm>
        </p:spPr>
        <p:txBody>
          <a:bodyPr/>
          <a:lstStyle/>
          <a:p>
            <a:r>
              <a:rPr lang="ar-sa" dirty="0">
                <a:latin typeface="Sakkal Majalla" panose="02000000000000000000" pitchFamily="2" charset="-78"/>
                <a:cs typeface="Sakkal Majalla" panose="02000000000000000000" pitchFamily="2" charset="-78"/>
              </a:rPr>
              <a:t>منزل تحت الماء
</a:t>
            </a:r>
            <a:br>
              <a:rPr lang="ar-sa" dirty="0">
                <a:latin typeface="Sakkal Majalla" panose="02000000000000000000" pitchFamily="2" charset="-78"/>
                <a:cs typeface="Sakkal Majalla" panose="02000000000000000000" pitchFamily="2" charset="-78"/>
              </a:rPr>
            </a:br>
            <a:r>
              <a:rPr lang="ar-sa" dirty="0">
                <a:latin typeface="Sakkal Majalla" panose="02000000000000000000" pitchFamily="2" charset="-78"/>
                <a:cs typeface="Sakkal Majalla" panose="02000000000000000000" pitchFamily="2" charset="-78"/>
              </a:rPr>
              <a:t>عمل فني: تشارلز شريدي
</a:t>
            </a:r>
            <a:br>
              <a:rPr lang="ar-sa" dirty="0">
                <a:latin typeface="Sakkal Majalla" panose="02000000000000000000" pitchFamily="2" charset="-78"/>
                <a:cs typeface="Sakkal Majalla" panose="02000000000000000000" pitchFamily="2" charset="-78"/>
              </a:rPr>
            </a:br>
            <a:r>
              <a:rPr lang="ar-sa" dirty="0">
                <a:latin typeface="Sakkal Majalla" panose="02000000000000000000" pitchFamily="2" charset="-78"/>
                <a:cs typeface="Sakkal Majalla" panose="02000000000000000000" pitchFamily="2" charset="-78"/>
              </a:rPr>
              <a:t>ما بين 1961-1963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3D32883-2B80-776F-FB4B-94B7DDA063C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en-US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11266" name="Picture 2" descr="Retrofuturism Underwater Home">
            <a:extLst>
              <a:ext uri="{FF2B5EF4-FFF2-40B4-BE49-F238E27FC236}">
                <a16:creationId xmlns:a16="http://schemas.microsoft.com/office/drawing/2014/main" id="{A46CF64F-D8A6-75D1-7120-17187957B35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798320" y="0"/>
            <a:ext cx="734568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7BF85D8-5A88-4F4C-A8FB-431108B62BBA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63536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F3B6B3A-F26F-BBC4-4544-C4EAB56AFC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049" y="274638"/>
            <a:ext cx="2507691" cy="274637"/>
          </a:xfrm>
        </p:spPr>
        <p:txBody>
          <a:bodyPr/>
          <a:lstStyle/>
          <a:p>
            <a:r>
              <a:rPr lang="ar-sa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واقع الافتراضي</a:t>
            </a:r>
            <a:r>
              <a:rPr lang="ar-AE" dirty="0">
                <a:latin typeface="Sakkal Majalla" panose="02000000000000000000" pitchFamily="2" charset="-78"/>
                <a:cs typeface="Sakkal Majalla" panose="02000000000000000000" pitchFamily="2" charset="-78"/>
              </a:rPr>
              <a:t> - </a:t>
            </a:r>
            <a:r>
              <a:rPr lang="ar-sa" dirty="0">
                <a:latin typeface="Sakkal Majalla" panose="02000000000000000000" pitchFamily="2" charset="-78"/>
                <a:cs typeface="Sakkal Majalla" panose="02000000000000000000" pitchFamily="2" charset="-78"/>
              </a:rPr>
              <a:t>1989</a:t>
            </a:r>
          </a:p>
        </p:txBody>
      </p:sp>
      <p:pic>
        <p:nvPicPr>
          <p:cNvPr id="14338" name="Picture 2">
            <a:extLst>
              <a:ext uri="{FF2B5EF4-FFF2-40B4-BE49-F238E27FC236}">
                <a16:creationId xmlns:a16="http://schemas.microsoft.com/office/drawing/2014/main" id="{CD689819-4AD5-1465-5ED7-2D2BBF0EA1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88640" y="-8548"/>
            <a:ext cx="5166360" cy="515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1A4128A-4964-487D-A7A7-E39CED5CB9B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67157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48C7DB5-D037-3C94-4E09-89F929B8E7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049" y="274638"/>
            <a:ext cx="5267655" cy="274637"/>
          </a:xfrm>
        </p:spPr>
        <p:txBody>
          <a:bodyPr/>
          <a:lstStyle/>
          <a:p>
            <a:r>
              <a:rPr lang="ar-sa" dirty="0">
                <a:latin typeface="Sakkal Majalla" panose="02000000000000000000" pitchFamily="2" charset="-78"/>
                <a:cs typeface="Sakkal Majalla" panose="02000000000000000000" pitchFamily="2" charset="-78"/>
              </a:rPr>
              <a:t>برج ترفيهي بارتفاع نصف ميل يضم مطعماً ومرآباً يتسع لـ 500 سيارة – عام 1933 </a:t>
            </a:r>
            <a:br>
              <a:rPr lang="ar-AE" dirty="0">
                <a:latin typeface="Sakkal Majalla" panose="02000000000000000000" pitchFamily="2" charset="-78"/>
                <a:cs typeface="Sakkal Majalla" panose="02000000000000000000" pitchFamily="2" charset="-78"/>
              </a:rPr>
            </a:br>
            <a:r>
              <a:rPr lang="ar-sa" dirty="0">
                <a:latin typeface="Sakkal Majalla" panose="02000000000000000000" pitchFamily="2" charset="-78"/>
                <a:cs typeface="Sakkal Majalla" panose="02000000000000000000" pitchFamily="2" charset="-78"/>
              </a:rPr>
              <a:t>مدينة المستقبل كما تخيّلوها في ثلاثينيات القرن الماضي</a:t>
            </a:r>
            <a:br>
              <a:rPr lang="ar-sa" dirty="0">
                <a:latin typeface="Sakkal Majalla" panose="02000000000000000000" pitchFamily="2" charset="-78"/>
                <a:cs typeface="Sakkal Majalla" panose="02000000000000000000" pitchFamily="2" charset="-78"/>
              </a:rPr>
            </a:br>
            <a:br>
              <a:rPr lang="ar-sa" dirty="0">
                <a:latin typeface="Sakkal Majalla" panose="02000000000000000000" pitchFamily="2" charset="-78"/>
                <a:cs typeface="Sakkal Majalla" panose="02000000000000000000" pitchFamily="2" charset="-78"/>
              </a:rPr>
            </a:br>
            <a:endParaRPr lang="ar-sa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12290" name="Picture 2" descr="Pleasure Tower">
            <a:extLst>
              <a:ext uri="{FF2B5EF4-FFF2-40B4-BE49-F238E27FC236}">
                <a16:creationId xmlns:a16="http://schemas.microsoft.com/office/drawing/2014/main" id="{053A50F6-C4A7-FC64-6347-E9572610A4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40413" y="0"/>
            <a:ext cx="3303587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4" name="Picture 2" descr="City Of The Future">
            <a:extLst>
              <a:ext uri="{FF2B5EF4-FFF2-40B4-BE49-F238E27FC236}">
                <a16:creationId xmlns:a16="http://schemas.microsoft.com/office/drawing/2014/main" id="{B2B7A68A-1D48-8BC6-7762-B6A4A77D16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5049" y="1638300"/>
            <a:ext cx="2854960" cy="214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r/interestingasfuck - Soviet vision of the future in the 1930s">
            <a:extLst>
              <a:ext uri="{FF2B5EF4-FFF2-40B4-BE49-F238E27FC236}">
                <a16:creationId xmlns:a16="http://schemas.microsoft.com/office/drawing/2014/main" id="{7AE4E0A0-EB74-2CE5-8FD8-34BD65B485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72917" y="1638300"/>
            <a:ext cx="2352446" cy="2940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2AE5771-C2EA-0833-BBF4-F48B0B570CAB}"/>
              </a:ext>
            </a:extLst>
          </p:cNvPr>
          <p:cNvSpPr/>
          <p:nvPr/>
        </p:nvSpPr>
        <p:spPr>
          <a:xfrm>
            <a:off x="5933072" y="3108579"/>
            <a:ext cx="1810067" cy="629920"/>
          </a:xfrm>
          <a:prstGeom prst="rect">
            <a:avLst/>
          </a:prstGeom>
          <a:gradFill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sa" sz="10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نصف ميل = 805 متر</a:t>
            </a:r>
          </a:p>
          <a:p>
            <a:pPr algn="ctr"/>
            <a:r>
              <a:rPr lang="ar-sa" sz="10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برج خليفة = 829 متر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EE81F59-39C2-47B2-9FDF-0373F1B82E0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4A2EA4C-250A-03AD-C2D5-78890F637EBA}"/>
              </a:ext>
            </a:extLst>
          </p:cNvPr>
          <p:cNvGrpSpPr/>
          <p:nvPr/>
        </p:nvGrpSpPr>
        <p:grpSpPr>
          <a:xfrm>
            <a:off x="3494460" y="132999"/>
            <a:ext cx="3449983" cy="4874962"/>
            <a:chOff x="3494460" y="132999"/>
            <a:chExt cx="3449983" cy="4874962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C3A1CE6-7BD0-1DB3-1C00-CC1F322631BF}"/>
                </a:ext>
              </a:extLst>
            </p:cNvPr>
            <p:cNvSpPr/>
            <p:nvPr/>
          </p:nvSpPr>
          <p:spPr>
            <a:xfrm>
              <a:off x="3690290" y="135539"/>
              <a:ext cx="3058321" cy="4872422"/>
            </a:xfrm>
            <a:custGeom>
              <a:avLst/>
              <a:gdLst>
                <a:gd name="connsiteX0" fmla="*/ 0 w 681088"/>
                <a:gd name="connsiteY0" fmla="*/ 0 h 1752381"/>
                <a:gd name="connsiteX1" fmla="*/ 681088 w 681088"/>
                <a:gd name="connsiteY1" fmla="*/ 0 h 1752381"/>
                <a:gd name="connsiteX2" fmla="*/ 681088 w 681088"/>
                <a:gd name="connsiteY2" fmla="*/ 1752381 h 1752381"/>
                <a:gd name="connsiteX3" fmla="*/ 0 w 681088"/>
                <a:gd name="connsiteY3" fmla="*/ 1752381 h 1752381"/>
                <a:gd name="connsiteX4" fmla="*/ 0 w 681088"/>
                <a:gd name="connsiteY4" fmla="*/ 0 h 1752381"/>
                <a:gd name="connsiteX0" fmla="*/ 0 w 681088"/>
                <a:gd name="connsiteY0" fmla="*/ 0 h 1752381"/>
                <a:gd name="connsiteX1" fmla="*/ 482968 w 681088"/>
                <a:gd name="connsiteY1" fmla="*/ 0 h 1752381"/>
                <a:gd name="connsiteX2" fmla="*/ 681088 w 681088"/>
                <a:gd name="connsiteY2" fmla="*/ 1752381 h 1752381"/>
                <a:gd name="connsiteX3" fmla="*/ 0 w 681088"/>
                <a:gd name="connsiteY3" fmla="*/ 1752381 h 1752381"/>
                <a:gd name="connsiteX4" fmla="*/ 0 w 681088"/>
                <a:gd name="connsiteY4" fmla="*/ 0 h 1752381"/>
                <a:gd name="connsiteX0" fmla="*/ 157480 w 681088"/>
                <a:gd name="connsiteY0" fmla="*/ 10160 h 1752381"/>
                <a:gd name="connsiteX1" fmla="*/ 482968 w 681088"/>
                <a:gd name="connsiteY1" fmla="*/ 0 h 1752381"/>
                <a:gd name="connsiteX2" fmla="*/ 681088 w 681088"/>
                <a:gd name="connsiteY2" fmla="*/ 1752381 h 1752381"/>
                <a:gd name="connsiteX3" fmla="*/ 0 w 681088"/>
                <a:gd name="connsiteY3" fmla="*/ 1752381 h 1752381"/>
                <a:gd name="connsiteX4" fmla="*/ 157480 w 681088"/>
                <a:gd name="connsiteY4" fmla="*/ 10160 h 1752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1088" h="1752381">
                  <a:moveTo>
                    <a:pt x="157480" y="10160"/>
                  </a:moveTo>
                  <a:lnTo>
                    <a:pt x="482968" y="0"/>
                  </a:lnTo>
                  <a:lnTo>
                    <a:pt x="681088" y="1752381"/>
                  </a:lnTo>
                  <a:lnTo>
                    <a:pt x="0" y="1752381"/>
                  </a:lnTo>
                  <a:lnTo>
                    <a:pt x="157480" y="10160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lumMod val="89000"/>
                  </a:schemeClr>
                </a:gs>
                <a:gs pos="23000">
                  <a:schemeClr val="accent1">
                    <a:lumMod val="89000"/>
                  </a:schemeClr>
                </a:gs>
                <a:gs pos="69000">
                  <a:schemeClr val="accent1">
                    <a:lumMod val="75000"/>
                  </a:schemeClr>
                </a:gs>
                <a:gs pos="97000">
                  <a:schemeClr val="accent1">
                    <a:lumMod val="70000"/>
                  </a:schemeClr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b="1" dirty="0"/>
            </a:p>
          </p:txBody>
        </p:sp>
        <p:pic>
          <p:nvPicPr>
            <p:cNvPr id="5" name="Picture 6" descr="Burj Khalifa Tower transparent PNG - StickPNG">
              <a:extLst>
                <a:ext uri="{FF2B5EF4-FFF2-40B4-BE49-F238E27FC236}">
                  <a16:creationId xmlns:a16="http://schemas.microsoft.com/office/drawing/2014/main" id="{8C8BCB26-EBF8-0018-062C-F3D61F62971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2266" b="99141" l="4239" r="95109">
                          <a14:foregroundMark x1="46957" y1="41250" x2="51848" y2="25469"/>
                          <a14:foregroundMark x1="47717" y1="35391" x2="49891" y2="26563"/>
                          <a14:foregroundMark x1="47826" y1="32969" x2="48261" y2="25469"/>
                          <a14:foregroundMark x1="57391" y1="36563" x2="56739" y2="28516"/>
                          <a14:foregroundMark x1="54457" y1="24922" x2="53261" y2="35703"/>
                          <a14:foregroundMark x1="53261" y1="35703" x2="52717" y2="9297"/>
                          <a14:foregroundMark x1="52717" y1="9297" x2="54239" y2="21406"/>
                          <a14:foregroundMark x1="54239" y1="21406" x2="54239" y2="21406"/>
                          <a14:foregroundMark x1="53370" y1="7031" x2="52717" y2="2266"/>
                          <a14:foregroundMark x1="14674" y1="91719" x2="46196" y2="94766"/>
                          <a14:foregroundMark x1="46196" y1="94766" x2="75435" y2="94141"/>
                          <a14:foregroundMark x1="75435" y1="94141" x2="51413" y2="93047"/>
                          <a14:foregroundMark x1="51413" y1="93047" x2="77500" y2="94688"/>
                          <a14:foregroundMark x1="10217" y1="90156" x2="95217" y2="97969"/>
                          <a14:foregroundMark x1="17283" y1="99141" x2="4239" y2="98984"/>
                          <a14:foregroundMark x1="46087" y1="43125" x2="46848" y2="41406"/>
                          <a14:foregroundMark x1="46196" y1="43438" x2="46848" y2="36328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94460" y="132999"/>
              <a:ext cx="3449983" cy="47994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1BD74C5D-2C7B-F3A6-0F5F-9FA759481C76}"/>
              </a:ext>
            </a:extLst>
          </p:cNvPr>
          <p:cNvSpPr/>
          <p:nvPr/>
        </p:nvSpPr>
        <p:spPr>
          <a:xfrm>
            <a:off x="1976432" y="3108579"/>
            <a:ext cx="2788920" cy="76108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</a:schemeClr>
              </a:gs>
              <a:gs pos="23000">
                <a:schemeClr val="accent6">
                  <a:lumMod val="89000"/>
                </a:schemeClr>
              </a:gs>
              <a:gs pos="69000">
                <a:schemeClr val="accent6">
                  <a:lumMod val="75000"/>
                </a:schemeClr>
              </a:gs>
              <a:gs pos="97000">
                <a:schemeClr val="accent6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OM" sz="1600" b="1" dirty="0"/>
              <a:t>كم عدد مواقف السيارات والمطاعم في برج خليفة؟ </a:t>
            </a:r>
            <a:endParaRPr lang="en-US" sz="1600" b="1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2F942D8-B896-6442-E53C-5A3401CBF164}"/>
              </a:ext>
            </a:extLst>
          </p:cNvPr>
          <p:cNvSpPr/>
          <p:nvPr/>
        </p:nvSpPr>
        <p:spPr>
          <a:xfrm>
            <a:off x="3245094" y="3920077"/>
            <a:ext cx="1520257" cy="377189"/>
          </a:xfrm>
          <a:prstGeom prst="rect">
            <a:avLst/>
          </a:prstGeom>
          <a:gradFill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OM" sz="1000" b="1" dirty="0"/>
              <a:t>3,000 موقف للسيارات و أكثر من 10 مطاعم</a:t>
            </a:r>
            <a:endParaRPr lang="en-US" sz="1000" b="1" dirty="0"/>
          </a:p>
        </p:txBody>
      </p:sp>
    </p:spTree>
    <p:extLst>
      <p:ext uri="{BB962C8B-B14F-4D97-AF65-F5344CB8AC3E}">
        <p14:creationId xmlns:p14="http://schemas.microsoft.com/office/powerpoint/2010/main" val="14278134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0" grpId="0" animBg="1"/>
      <p:bldP spid="7" grpId="0" animBg="1"/>
      <p:bldP spid="8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3AB493-E4C9-17AE-6A96-EEB650AFB9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CFB4752-FD8A-8580-8B38-BAF181B2AAD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92481" y="710600"/>
            <a:ext cx="7741920" cy="3045693"/>
          </a:xfrm>
        </p:spPr>
        <p:txBody>
          <a:bodyPr/>
          <a:lstStyle/>
          <a:p>
            <a:pPr algn="ctr"/>
            <a:r>
              <a:rPr lang="ar-sa" sz="36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لنتخيّل المستقبل</a:t>
            </a:r>
          </a:p>
          <a:p>
            <a:pPr algn="ctr"/>
            <a:endParaRPr lang="en-US" sz="2400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algn="ctr"/>
            <a:endParaRPr lang="en-US" sz="2400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algn="ctr"/>
            <a:endParaRPr lang="en-US" sz="2400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algn="ctr"/>
            <a:endParaRPr lang="en-US" sz="2400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algn="ctr"/>
            <a:endParaRPr lang="en-US" sz="2400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algn="ctr"/>
            <a:endParaRPr lang="en-US" sz="2000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2" name="Graphic 1" descr="Hourglass 30% outline">
            <a:extLst>
              <a:ext uri="{FF2B5EF4-FFF2-40B4-BE49-F238E27FC236}">
                <a16:creationId xmlns:a16="http://schemas.microsoft.com/office/drawing/2014/main" id="{D4B441DF-09BC-19F1-E6DA-B99DA6D4C52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87144" y="4417891"/>
            <a:ext cx="469233" cy="46923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29C331A-90ED-1F1F-9688-1DF5F2D59135}"/>
              </a:ext>
            </a:extLst>
          </p:cNvPr>
          <p:cNvSpPr txBox="1"/>
          <p:nvPr/>
        </p:nvSpPr>
        <p:spPr>
          <a:xfrm>
            <a:off x="4650080" y="4467841"/>
            <a:ext cx="7889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sa" sz="180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10 دقائق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1BF6057-5C81-4CFC-86DE-62CFACB8FE78}"/>
              </a:ext>
            </a:extLst>
          </p:cNvPr>
          <p:cNvGrpSpPr/>
          <p:nvPr/>
        </p:nvGrpSpPr>
        <p:grpSpPr>
          <a:xfrm flipH="1">
            <a:off x="-685800" y="1354040"/>
            <a:ext cx="10484184" cy="2943608"/>
            <a:chOff x="-685800" y="1354040"/>
            <a:chExt cx="10484184" cy="2943608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ED645B38-69B9-1E2B-AF53-5CCC5F4D5818}"/>
                </a:ext>
              </a:extLst>
            </p:cNvPr>
            <p:cNvSpPr/>
            <p:nvPr/>
          </p:nvSpPr>
          <p:spPr>
            <a:xfrm>
              <a:off x="-685800" y="1354040"/>
              <a:ext cx="8575040" cy="64633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6">
                    <a:lumMod val="89000"/>
                  </a:schemeClr>
                </a:gs>
                <a:gs pos="23000">
                  <a:schemeClr val="accent6">
                    <a:lumMod val="89000"/>
                  </a:schemeClr>
                </a:gs>
                <a:gs pos="69000">
                  <a:schemeClr val="accent6">
                    <a:lumMod val="75000"/>
                  </a:schemeClr>
                </a:gs>
                <a:gs pos="97000">
                  <a:schemeClr val="accent6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D5641145-4224-3CAC-4ED2-6345E14A9AE4}"/>
                </a:ext>
              </a:extLst>
            </p:cNvPr>
            <p:cNvSpPr/>
            <p:nvPr/>
          </p:nvSpPr>
          <p:spPr>
            <a:xfrm>
              <a:off x="1223344" y="2107946"/>
              <a:ext cx="8575040" cy="64633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6">
                    <a:lumMod val="89000"/>
                  </a:schemeClr>
                </a:gs>
                <a:gs pos="23000">
                  <a:schemeClr val="accent6">
                    <a:lumMod val="89000"/>
                  </a:schemeClr>
                </a:gs>
                <a:gs pos="69000">
                  <a:schemeClr val="accent6">
                    <a:lumMod val="75000"/>
                  </a:schemeClr>
                </a:gs>
                <a:gs pos="97000">
                  <a:schemeClr val="accent6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99295E6C-76AF-F549-8663-DF025239ED6F}"/>
                </a:ext>
              </a:extLst>
            </p:cNvPr>
            <p:cNvSpPr/>
            <p:nvPr/>
          </p:nvSpPr>
          <p:spPr>
            <a:xfrm>
              <a:off x="-685800" y="2879631"/>
              <a:ext cx="8575040" cy="64633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6">
                    <a:lumMod val="89000"/>
                  </a:schemeClr>
                </a:gs>
                <a:gs pos="23000">
                  <a:schemeClr val="accent6">
                    <a:lumMod val="89000"/>
                  </a:schemeClr>
                </a:gs>
                <a:gs pos="69000">
                  <a:schemeClr val="accent6">
                    <a:lumMod val="75000"/>
                  </a:schemeClr>
                </a:gs>
                <a:gs pos="97000">
                  <a:schemeClr val="accent6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1496DAA0-2026-9A27-B69E-815634FF63F2}"/>
                </a:ext>
              </a:extLst>
            </p:cNvPr>
            <p:cNvSpPr/>
            <p:nvPr/>
          </p:nvSpPr>
          <p:spPr>
            <a:xfrm>
              <a:off x="1215059" y="3651317"/>
              <a:ext cx="8575040" cy="64633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89000"/>
                  </a:schemeClr>
                </a:gs>
                <a:gs pos="23000">
                  <a:schemeClr val="accent4">
                    <a:lumMod val="89000"/>
                  </a:schemeClr>
                </a:gs>
                <a:gs pos="69000">
                  <a:schemeClr val="accent4">
                    <a:lumMod val="75000"/>
                  </a:schemeClr>
                </a:gs>
                <a:gs pos="97000">
                  <a:schemeClr val="accent4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BD38D6A-2388-EBAD-37E2-DCA2206930CD}"/>
                </a:ext>
              </a:extLst>
            </p:cNvPr>
            <p:cNvSpPr txBox="1"/>
            <p:nvPr/>
          </p:nvSpPr>
          <p:spPr>
            <a:xfrm>
              <a:off x="2353445" y="1492540"/>
              <a:ext cx="41607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ar-sa" sz="1800" b="1" dirty="0">
                  <a:solidFill>
                    <a:schemeClr val="bg1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اعملوا</a:t>
              </a:r>
              <a:r>
                <a:rPr lang="ar-sa" sz="1600" dirty="0">
                  <a:solidFill>
                    <a:schemeClr val="bg1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 في مجموعات من 4 أشخاص مع دعم الذكاء الاصطناعي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C10DF13-1AC1-2334-2779-FBEE701FE658}"/>
                </a:ext>
              </a:extLst>
            </p:cNvPr>
            <p:cNvSpPr txBox="1"/>
            <p:nvPr/>
          </p:nvSpPr>
          <p:spPr>
            <a:xfrm>
              <a:off x="1808148" y="2233447"/>
              <a:ext cx="1620852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ar-sa" sz="1800" b="1" dirty="0">
                  <a:solidFill>
                    <a:schemeClr val="bg1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ناقشوا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882D8C8-6623-C91C-6B3A-27ADDAD62FC9}"/>
                </a:ext>
              </a:extLst>
            </p:cNvPr>
            <p:cNvSpPr txBox="1"/>
            <p:nvPr/>
          </p:nvSpPr>
          <p:spPr>
            <a:xfrm>
              <a:off x="3141980" y="2125726"/>
              <a:ext cx="4919980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ar-sa" sz="1600" dirty="0">
                  <a:solidFill>
                    <a:schemeClr val="bg1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كيف يبدو المستقبل الأمثل؟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ar-sa" sz="1600" dirty="0">
                  <a:solidFill>
                    <a:schemeClr val="bg1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ما التكنولوجيا المتوفرة هناك؟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C4274B18-B10E-BF49-3A19-C6367DB54F96}"/>
                </a:ext>
              </a:extLst>
            </p:cNvPr>
            <p:cNvSpPr txBox="1"/>
            <p:nvPr/>
          </p:nvSpPr>
          <p:spPr>
            <a:xfrm>
              <a:off x="1808148" y="2995048"/>
              <a:ext cx="1620852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ar-sa" sz="1800" b="1">
                  <a:solidFill>
                    <a:schemeClr val="bg1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قدم وصفاً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50D069C-1FBC-EF37-E970-11A944B88DB1}"/>
                </a:ext>
              </a:extLst>
            </p:cNvPr>
            <p:cNvSpPr txBox="1"/>
            <p:nvPr/>
          </p:nvSpPr>
          <p:spPr>
            <a:xfrm>
              <a:off x="3203878" y="2892776"/>
              <a:ext cx="4378960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ar-sa" sz="1600">
                  <a:solidFill>
                    <a:schemeClr val="bg1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ليومك في عام 2035.. كيف تستيقظ وتعمل وتلعب وتتعلم وتلتقي بأصدقائك.</a:t>
              </a:r>
              <a:br>
                <a:rPr lang="ar-sa" sz="1600">
                  <a:solidFill>
                    <a:schemeClr val="bg1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</a:br>
              <a:endParaRPr lang="ar-sa" sz="160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59DED13E-77C2-12AA-0BB2-DF01DA78CE74}"/>
                </a:ext>
              </a:extLst>
            </p:cNvPr>
            <p:cNvSpPr txBox="1"/>
            <p:nvPr/>
          </p:nvSpPr>
          <p:spPr>
            <a:xfrm>
              <a:off x="1843708" y="3788358"/>
              <a:ext cx="1620852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ar-sa" sz="1800" b="1">
                  <a:solidFill>
                    <a:schemeClr val="bg1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قدّموا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9178B7D-75A6-B3E7-D8A1-6C78295183F8}"/>
                </a:ext>
              </a:extLst>
            </p:cNvPr>
            <p:cNvSpPr txBox="1"/>
            <p:nvPr/>
          </p:nvSpPr>
          <p:spPr>
            <a:xfrm>
              <a:off x="3203878" y="3805097"/>
              <a:ext cx="491998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ar-sa" sz="1600">
                  <a:solidFill>
                    <a:schemeClr val="bg1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رؤية مجموعتكم للمستقبل وارسموا ملامح يومٍ في حياتكم.</a:t>
              </a:r>
            </a:p>
          </p:txBody>
        </p:sp>
      </p:grp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EEFADEBC-6455-488E-8E9B-4EBDBBD5EB78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23941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44958D6-BDD0-E2D8-B786-C86A9A45479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-239100" y="697890"/>
            <a:ext cx="8429323" cy="175113"/>
          </a:xfrm>
        </p:spPr>
        <p:txBody>
          <a:bodyPr/>
          <a:lstStyle/>
          <a:p>
            <a:r>
              <a:rPr lang="ar-OM" dirty="0"/>
              <a:t>هذه المحاضرة برعاية مجلس أبحاث التكنولوجيا المتطورة 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0785F60-F712-A7F6-C3DA-9DD694A80D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r-OM" sz="2000" dirty="0"/>
              <a:t>مرحبا بكم في المستقبل</a:t>
            </a:r>
            <a:endParaRPr lang="en-US" sz="20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A9221F4-10D6-7CCF-F01F-ADD023D3AA07}"/>
              </a:ext>
            </a:extLst>
          </p:cNvPr>
          <p:cNvGrpSpPr/>
          <p:nvPr/>
        </p:nvGrpSpPr>
        <p:grpSpPr>
          <a:xfrm>
            <a:off x="6591301" y="1008917"/>
            <a:ext cx="2044801" cy="3125665"/>
            <a:chOff x="5853804" y="1031104"/>
            <a:chExt cx="2064702" cy="3097243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8D2EF744-08E5-E317-CD30-BBED69236319}"/>
                </a:ext>
              </a:extLst>
            </p:cNvPr>
            <p:cNvSpPr txBox="1"/>
            <p:nvPr/>
          </p:nvSpPr>
          <p:spPr>
            <a:xfrm>
              <a:off x="6452949" y="1592605"/>
              <a:ext cx="650844" cy="461665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89000"/>
                  </a:schemeClr>
                </a:gs>
                <a:gs pos="23000">
                  <a:schemeClr val="accent1">
                    <a:lumMod val="89000"/>
                  </a:schemeClr>
                </a:gs>
                <a:gs pos="69000">
                  <a:schemeClr val="accent1">
                    <a:lumMod val="75000"/>
                  </a:schemeClr>
                </a:gs>
                <a:gs pos="97000">
                  <a:schemeClr val="accent1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</p:spPr>
          <p:txBody>
            <a:bodyPr wrap="square" rtlCol="0">
              <a:spAutoFit/>
            </a:bodyPr>
            <a:lstStyle/>
            <a:p>
              <a:r>
                <a:rPr lang="en-US" sz="1200" b="1" dirty="0">
                  <a:solidFill>
                    <a:schemeClr val="bg1"/>
                  </a:solidFill>
                </a:rPr>
                <a:t>                               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59C6E1E-0E49-D85D-9D43-1259B1515928}"/>
                </a:ext>
              </a:extLst>
            </p:cNvPr>
            <p:cNvSpPr txBox="1"/>
            <p:nvPr/>
          </p:nvSpPr>
          <p:spPr>
            <a:xfrm>
              <a:off x="5853804" y="2923970"/>
              <a:ext cx="2017384" cy="64633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89000"/>
                  </a:schemeClr>
                </a:gs>
                <a:gs pos="23000">
                  <a:schemeClr val="accent1">
                    <a:lumMod val="89000"/>
                  </a:schemeClr>
                </a:gs>
                <a:gs pos="69000">
                  <a:schemeClr val="accent1">
                    <a:lumMod val="75000"/>
                  </a:schemeClr>
                </a:gs>
                <a:gs pos="97000">
                  <a:schemeClr val="accent1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</p:spPr>
          <p:txBody>
            <a:bodyPr wrap="square" rtlCol="0">
              <a:spAutoFit/>
            </a:bodyPr>
            <a:lstStyle/>
            <a:p>
              <a:endParaRPr lang="en-US" sz="900" b="1" dirty="0">
                <a:solidFill>
                  <a:schemeClr val="bg1"/>
                </a:solidFill>
              </a:endParaRPr>
            </a:p>
            <a:p>
              <a:endParaRPr lang="en-US" sz="900" b="1" dirty="0">
                <a:solidFill>
                  <a:schemeClr val="bg1"/>
                </a:solidFill>
              </a:endParaRPr>
            </a:p>
            <a:p>
              <a:endParaRPr lang="en-US" sz="900" b="1" dirty="0">
                <a:solidFill>
                  <a:schemeClr val="bg1"/>
                </a:solidFill>
              </a:endParaRPr>
            </a:p>
            <a:p>
              <a:endParaRPr lang="en-US" sz="9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Title 3">
              <a:extLst>
                <a:ext uri="{FF2B5EF4-FFF2-40B4-BE49-F238E27FC236}">
                  <a16:creationId xmlns:a16="http://schemas.microsoft.com/office/drawing/2014/main" id="{9BA20328-55CE-B2A2-84D2-30CA082D6E62}"/>
                </a:ext>
              </a:extLst>
            </p:cNvPr>
            <p:cNvSpPr txBox="1">
              <a:spLocks/>
            </p:cNvSpPr>
            <p:nvPr/>
          </p:nvSpPr>
          <p:spPr>
            <a:xfrm>
              <a:off x="5853804" y="1031104"/>
              <a:ext cx="2064702" cy="3097243"/>
            </a:xfrm>
            <a:prstGeom prst="rect">
              <a:avLst/>
            </a:prstGeom>
          </p:spPr>
          <p:txBody>
            <a:bodyPr vert="horz" lIns="0" tIns="45720" rIns="91440" bIns="45720" rtlCol="0" anchor="t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1800" b="1" kern="120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algn="r" rtl="1"/>
              <a:r>
                <a:rPr lang="ar-OM" sz="2000" dirty="0">
                  <a:solidFill>
                    <a:schemeClr val="bg2"/>
                  </a:solidFill>
                </a:rPr>
                <a:t>مجلس أبحاث التكنولوجيا المتطورة  هو جهة حكومية</a:t>
              </a:r>
            </a:p>
            <a:p>
              <a:pPr algn="r" rtl="1"/>
              <a:endParaRPr lang="ar-OM" sz="2000" dirty="0">
                <a:solidFill>
                  <a:schemeClr val="bg2"/>
                </a:solidFill>
              </a:endParaRPr>
            </a:p>
            <a:p>
              <a:pPr algn="r" rtl="1"/>
              <a:r>
                <a:rPr lang="en-US" sz="2000" dirty="0">
                  <a:solidFill>
                    <a:schemeClr val="bg2"/>
                  </a:solidFill>
                </a:rPr>
                <a:t> </a:t>
              </a:r>
              <a:r>
                <a:rPr lang="ar-OM" sz="2000" dirty="0"/>
                <a:t>معنية بجعل أبوظبي مركزا عالميا في</a:t>
              </a:r>
            </a:p>
            <a:p>
              <a:pPr algn="r" rtl="1"/>
              <a:endParaRPr lang="ar-OM" sz="2000" dirty="0"/>
            </a:p>
            <a:p>
              <a:pPr algn="r" rtl="1"/>
              <a:r>
                <a:rPr lang="ar-OM" sz="2000" dirty="0"/>
                <a:t> مجال الابتكار و البحث العلمي و التطوير</a:t>
              </a:r>
              <a:endParaRPr lang="en-US" sz="2000" dirty="0">
                <a:solidFill>
                  <a:schemeClr val="bg2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67BCCC74-25CF-1858-2948-1F5755DE2B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635" y="1045619"/>
            <a:ext cx="6178175" cy="3271793"/>
          </a:xfrm>
          <a:prstGeom prst="roundRect">
            <a:avLst>
              <a:gd name="adj" fmla="val 1092"/>
            </a:avLst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05DB1C6-5B37-EFF7-55E4-3EC2372F128C}"/>
              </a:ext>
            </a:extLst>
          </p:cNvPr>
          <p:cNvSpPr txBox="1"/>
          <p:nvPr/>
        </p:nvSpPr>
        <p:spPr>
          <a:xfrm>
            <a:off x="278613" y="4398414"/>
            <a:ext cx="912429" cy="2183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2"/>
                </a:solidFill>
              </a:rPr>
              <a:t>ATRC.GOV.A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A64B069-2BBD-9EB8-C9AD-7B93C61BCC67}"/>
              </a:ext>
            </a:extLst>
          </p:cNvPr>
          <p:cNvSpPr txBox="1"/>
          <p:nvPr/>
        </p:nvSpPr>
        <p:spPr>
          <a:xfrm>
            <a:off x="278613" y="4616807"/>
            <a:ext cx="1215397" cy="2183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2"/>
                </a:solidFill>
              </a:rPr>
              <a:t>ATRC.GOV.AE/FFCP</a:t>
            </a:r>
          </a:p>
        </p:txBody>
      </p:sp>
    </p:spTree>
    <p:extLst>
      <p:ext uri="{BB962C8B-B14F-4D97-AF65-F5344CB8AC3E}">
        <p14:creationId xmlns:p14="http://schemas.microsoft.com/office/powerpoint/2010/main" val="436035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2" descr="Abu Dhabi Gears Up for Season 2 of the Autonomous Racing League ...">
            <a:extLst>
              <a:ext uri="{FF2B5EF4-FFF2-40B4-BE49-F238E27FC236}">
                <a16:creationId xmlns:a16="http://schemas.microsoft.com/office/drawing/2014/main" id="{1B943782-7F8D-E69A-1934-F664F19154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1046" b="13348"/>
          <a:stretch>
            <a:fillRect/>
          </a:stretch>
        </p:blipFill>
        <p:spPr bwMode="auto">
          <a:xfrm>
            <a:off x="3726077" y="1521220"/>
            <a:ext cx="5003328" cy="1854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" descr="Abu Dhabi Autonomous Racing League in UAE | A2RL">
            <a:extLst>
              <a:ext uri="{FF2B5EF4-FFF2-40B4-BE49-F238E27FC236}">
                <a16:creationId xmlns:a16="http://schemas.microsoft.com/office/drawing/2014/main" id="{41F1F981-A910-54F9-94B0-562A882E97D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9925"/>
          <a:stretch>
            <a:fillRect/>
          </a:stretch>
        </p:blipFill>
        <p:spPr bwMode="auto">
          <a:xfrm>
            <a:off x="513552" y="3238855"/>
            <a:ext cx="3195104" cy="1510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6B56B59A-FE64-677F-240F-B8558F9868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049" y="274638"/>
            <a:ext cx="7825174" cy="1025842"/>
          </a:xfrm>
        </p:spPr>
        <p:txBody>
          <a:bodyPr/>
          <a:lstStyle/>
          <a:p>
            <a:pPr algn="ctr"/>
            <a:r>
              <a:rPr lang="ar-OM" sz="3600" dirty="0"/>
              <a:t>ما هي خصائص التكنولوجيا الجيدة؟</a:t>
            </a:r>
            <a:endParaRPr lang="en-US" sz="36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719AB37-9785-6F49-C0B8-2BAB746D4ECA}"/>
              </a:ext>
            </a:extLst>
          </p:cNvPr>
          <p:cNvSpPr/>
          <p:nvPr/>
        </p:nvSpPr>
        <p:spPr>
          <a:xfrm>
            <a:off x="276963" y="1521220"/>
            <a:ext cx="3037342" cy="433755"/>
          </a:xfrm>
          <a:prstGeom prst="rect">
            <a:avLst/>
          </a:prstGeom>
          <a:gradFill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OM" sz="2400" b="1" dirty="0"/>
              <a:t>النية الحسنة و الأخلاق</a:t>
            </a:r>
            <a:endParaRPr lang="en-US" sz="2400" b="1" dirty="0"/>
          </a:p>
        </p:txBody>
      </p:sp>
      <p:sp>
        <p:nvSpPr>
          <p:cNvPr id="15" name="Text Placeholder 1">
            <a:extLst>
              <a:ext uri="{FF2B5EF4-FFF2-40B4-BE49-F238E27FC236}">
                <a16:creationId xmlns:a16="http://schemas.microsoft.com/office/drawing/2014/main" id="{AF4134E7-929C-98FA-43A4-DFFADA53D5E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61443" y="2051495"/>
            <a:ext cx="3210062" cy="1340091"/>
          </a:xfrm>
        </p:spPr>
        <p:txBody>
          <a:bodyPr>
            <a:normAutofit/>
          </a:bodyPr>
          <a:lstStyle/>
          <a:p>
            <a:r>
              <a:rPr lang="ar-OM" sz="2000" b="1" dirty="0"/>
              <a:t>يجب أن تكون في صميم التقنيات لتحقيق نتائج مفيدة للمجتمع</a:t>
            </a:r>
            <a:endParaRPr lang="en-US" sz="2000" b="1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98671CF-A81A-CF64-E1CC-4647EE4F9F7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99327" y="3040119"/>
            <a:ext cx="4567710" cy="1677429"/>
          </a:xfrm>
        </p:spPr>
        <p:txBody>
          <a:bodyPr>
            <a:normAutofit/>
          </a:bodyPr>
          <a:lstStyle/>
          <a:p>
            <a:r>
              <a:rPr lang="ar-OM" sz="2000" b="1" dirty="0"/>
              <a:t>يجب على مبتكري تقنيات الغد أن يضعوا المجتمع كأولوية </a:t>
            </a:r>
            <a:endParaRPr lang="en-US" sz="2000" b="1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192DB36-B849-848E-BA3E-38897C47CC18}"/>
              </a:ext>
            </a:extLst>
          </p:cNvPr>
          <p:cNvSpPr/>
          <p:nvPr/>
        </p:nvSpPr>
        <p:spPr>
          <a:xfrm>
            <a:off x="4299327" y="3676149"/>
            <a:ext cx="4430078" cy="740854"/>
          </a:xfrm>
          <a:prstGeom prst="rect">
            <a:avLst/>
          </a:prstGeom>
          <a:gradFill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ar-OM" sz="2400" b="1" dirty="0"/>
              <a:t>الرفاهية والشفافية والنزاهة في عملهم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6070969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build="p"/>
      <p:bldP spid="16" grpId="0" build="p"/>
      <p:bldP spid="17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81DCC9-DE60-2A37-960D-147E2A0BCD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9BEFC6E-9D2A-241D-4881-995DCDCB464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92481" y="582646"/>
            <a:ext cx="7741920" cy="3045693"/>
          </a:xfrm>
        </p:spPr>
        <p:txBody>
          <a:bodyPr anchor="t"/>
          <a:lstStyle/>
          <a:p>
            <a:pPr algn="ctr"/>
            <a:r>
              <a:rPr lang="ar-sa" sz="36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أيّ المهن </a:t>
            </a:r>
            <a:r>
              <a:rPr lang="ar-OM" sz="36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سنحتاجها في</a:t>
            </a:r>
            <a:r>
              <a:rPr lang="ar-sa" sz="36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 المستقبل الذي تتخيّلونه؟</a:t>
            </a:r>
          </a:p>
          <a:p>
            <a:pPr algn="ctr"/>
            <a:endParaRPr lang="en-US" sz="2400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algn="ctr"/>
            <a:endParaRPr lang="en-US" sz="2000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2" name="Graphic 1" descr="Hourglass 30% outline">
            <a:extLst>
              <a:ext uri="{FF2B5EF4-FFF2-40B4-BE49-F238E27FC236}">
                <a16:creationId xmlns:a16="http://schemas.microsoft.com/office/drawing/2014/main" id="{41712744-B129-50FD-2C2A-64EC355BB4A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26184" y="4141572"/>
            <a:ext cx="469233" cy="46923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D77E390-DB1D-B160-4813-5EF68B36E605}"/>
              </a:ext>
            </a:extLst>
          </p:cNvPr>
          <p:cNvSpPr txBox="1"/>
          <p:nvPr/>
        </p:nvSpPr>
        <p:spPr>
          <a:xfrm>
            <a:off x="4584333" y="4191522"/>
            <a:ext cx="6960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sa" sz="180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5 دقائق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08AE298-985E-4949-92EB-E32615D30C83}"/>
              </a:ext>
            </a:extLst>
          </p:cNvPr>
          <p:cNvGrpSpPr/>
          <p:nvPr/>
        </p:nvGrpSpPr>
        <p:grpSpPr>
          <a:xfrm flipH="1">
            <a:off x="-694085" y="1865757"/>
            <a:ext cx="10484184" cy="2108726"/>
            <a:chOff x="-694085" y="1865757"/>
            <a:chExt cx="10484184" cy="2108726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80291777-39DA-8F20-A436-4498ADF764BD}"/>
                </a:ext>
              </a:extLst>
            </p:cNvPr>
            <p:cNvSpPr/>
            <p:nvPr/>
          </p:nvSpPr>
          <p:spPr>
            <a:xfrm>
              <a:off x="-694085" y="1865757"/>
              <a:ext cx="8575040" cy="64633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5">
                    <a:lumMod val="89000"/>
                  </a:schemeClr>
                </a:gs>
                <a:gs pos="23000">
                  <a:schemeClr val="accent5">
                    <a:lumMod val="89000"/>
                  </a:schemeClr>
                </a:gs>
                <a:gs pos="69000">
                  <a:schemeClr val="accent5">
                    <a:lumMod val="75000"/>
                  </a:schemeClr>
                </a:gs>
                <a:gs pos="97000">
                  <a:schemeClr val="accent5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7ED94798-3E33-031D-FF1E-F19E8287E7DF}"/>
                </a:ext>
              </a:extLst>
            </p:cNvPr>
            <p:cNvSpPr/>
            <p:nvPr/>
          </p:nvSpPr>
          <p:spPr>
            <a:xfrm>
              <a:off x="1215059" y="2594263"/>
              <a:ext cx="8575040" cy="64633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5">
                    <a:lumMod val="89000"/>
                  </a:schemeClr>
                </a:gs>
                <a:gs pos="23000">
                  <a:schemeClr val="accent5">
                    <a:lumMod val="89000"/>
                  </a:schemeClr>
                </a:gs>
                <a:gs pos="69000">
                  <a:schemeClr val="accent5">
                    <a:lumMod val="75000"/>
                  </a:schemeClr>
                </a:gs>
                <a:gs pos="97000">
                  <a:schemeClr val="accent5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80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02D22AEF-3F42-DEFA-34F8-98D94269F271}"/>
                </a:ext>
              </a:extLst>
            </p:cNvPr>
            <p:cNvSpPr/>
            <p:nvPr/>
          </p:nvSpPr>
          <p:spPr>
            <a:xfrm>
              <a:off x="-694085" y="3328152"/>
              <a:ext cx="8575040" cy="64633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89000"/>
                  </a:schemeClr>
                </a:gs>
                <a:gs pos="23000">
                  <a:schemeClr val="accent4">
                    <a:lumMod val="89000"/>
                  </a:schemeClr>
                </a:gs>
                <a:gs pos="69000">
                  <a:schemeClr val="accent4">
                    <a:lumMod val="75000"/>
                  </a:schemeClr>
                </a:gs>
                <a:gs pos="97000">
                  <a:schemeClr val="accent4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035DC25-C0F7-30EC-4AE2-883E24BA04D3}"/>
                </a:ext>
              </a:extLst>
            </p:cNvPr>
            <p:cNvSpPr txBox="1"/>
            <p:nvPr/>
          </p:nvSpPr>
          <p:spPr>
            <a:xfrm>
              <a:off x="2076922" y="2004257"/>
              <a:ext cx="4173494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ar-sa" sz="1800" b="1" dirty="0">
                  <a:solidFill>
                    <a:schemeClr val="bg1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اعملوا</a:t>
              </a:r>
              <a:r>
                <a:rPr lang="ar-sa" sz="1600" dirty="0">
                  <a:solidFill>
                    <a:schemeClr val="bg1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 في مجموعات من 4 أشخاص مع دعم الذكاء الاصطناعي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7439FFC-BB78-68CC-25E2-587269C8EC12}"/>
                </a:ext>
              </a:extLst>
            </p:cNvPr>
            <p:cNvSpPr txBox="1"/>
            <p:nvPr/>
          </p:nvSpPr>
          <p:spPr>
            <a:xfrm>
              <a:off x="2293620" y="2592862"/>
              <a:ext cx="850235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ar-sa" sz="1800" b="1" dirty="0">
                  <a:solidFill>
                    <a:schemeClr val="bg1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ابتكروا</a:t>
              </a:r>
            </a:p>
            <a:p>
              <a:pPr algn="r"/>
              <a:endParaRPr lang="ar-sa" sz="1800" b="1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D01B912-5358-115A-A5D1-3988B92463DC}"/>
                </a:ext>
              </a:extLst>
            </p:cNvPr>
            <p:cNvSpPr txBox="1"/>
            <p:nvPr/>
          </p:nvSpPr>
          <p:spPr>
            <a:xfrm>
              <a:off x="3143855" y="2619591"/>
              <a:ext cx="4919980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ar-sa" sz="1600">
                  <a:solidFill>
                    <a:schemeClr val="bg1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قائمة بأهم 7 مهن مستقبلية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ar-sa" sz="1600">
                  <a:solidFill>
                    <a:schemeClr val="bg1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ومهارات المستقبل</a:t>
              </a:r>
              <a:br>
                <a:rPr lang="ar-sa" sz="1600">
                  <a:solidFill>
                    <a:schemeClr val="bg1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</a:br>
              <a:endParaRPr lang="ar-sa" sz="160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B78097D-8A75-FFDF-7E02-664DAC46C15B}"/>
                </a:ext>
              </a:extLst>
            </p:cNvPr>
            <p:cNvSpPr txBox="1"/>
            <p:nvPr/>
          </p:nvSpPr>
          <p:spPr>
            <a:xfrm>
              <a:off x="1783685" y="3466294"/>
              <a:ext cx="1620852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ar-sa" sz="1800" b="1">
                  <a:solidFill>
                    <a:schemeClr val="bg1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اعرضوا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3312352-0AE4-BFE3-EA33-E09C5E9DCD3F}"/>
                </a:ext>
              </a:extLst>
            </p:cNvPr>
            <p:cNvSpPr txBox="1"/>
            <p:nvPr/>
          </p:nvSpPr>
          <p:spPr>
            <a:xfrm>
              <a:off x="3143855" y="3483033"/>
              <a:ext cx="491998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ar-sa" sz="1600">
                  <a:solidFill>
                    <a:schemeClr val="bg1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المهن والمهارات أمام المجموعة</a:t>
              </a:r>
            </a:p>
          </p:txBody>
        </p:sp>
      </p:grp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33646E31-98AB-4717-817E-45C9D33C3127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80636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303E2E-7FC1-4250-6250-281DA48554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CD74A06B-21DF-CA24-5D26-79E8E02355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r-sa">
                <a:latin typeface="Sakkal Majalla" panose="02000000000000000000" pitchFamily="2" charset="-78"/>
                <a:cs typeface="Sakkal Majalla" panose="02000000000000000000" pitchFamily="2" charset="-78"/>
              </a:rPr>
              <a:t>رؤية قادة أبوظبي للتكنولوجيا التي ستقود المستقبل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173D467-EF97-C4C5-FDD9-2A1DA50CD87E}"/>
              </a:ext>
            </a:extLst>
          </p:cNvPr>
          <p:cNvSpPr txBox="1"/>
          <p:nvPr/>
        </p:nvSpPr>
        <p:spPr>
          <a:xfrm>
            <a:off x="3760162" y="874030"/>
            <a:ext cx="1623676" cy="307777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rtlCol="0">
            <a:spAutoFit/>
          </a:bodyPr>
          <a:lstStyle/>
          <a:p>
            <a:pPr algn="ctr"/>
            <a:r>
              <a:rPr lang="ar-sa" sz="1400" b="1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عصر الذكاء  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89C8556-E722-FE7B-9A93-83CB0E25D8F6}"/>
              </a:ext>
            </a:extLst>
          </p:cNvPr>
          <p:cNvGrpSpPr/>
          <p:nvPr/>
        </p:nvGrpSpPr>
        <p:grpSpPr>
          <a:xfrm>
            <a:off x="357338" y="1361962"/>
            <a:ext cx="8429323" cy="3080293"/>
            <a:chOff x="-1066717" y="5488994"/>
            <a:chExt cx="9619835" cy="3515337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F89AAA0-452C-B7EB-5FAF-F22B62AB6BC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-1066717" y="5488995"/>
              <a:ext cx="2220976" cy="3513079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6497467B-6EBE-A2E2-E3FE-56FBAB5CB5F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362814" y="5489241"/>
              <a:ext cx="2294509" cy="3512833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0B583D0E-1D6E-4205-1B16-2BF3668BFB3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865878" y="5488994"/>
              <a:ext cx="2231579" cy="3515337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1F235DCE-7323-837A-6FDF-CA483B74AC1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306013" y="5488994"/>
              <a:ext cx="2247105" cy="3513080"/>
            </a:xfrm>
            <a:prstGeom prst="rect">
              <a:avLst/>
            </a:prstGeom>
          </p:spPr>
        </p:pic>
      </p:grp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616CF6-FE5E-4DAE-90C5-5022585B3D4F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4EB78EA-17FB-C7E0-EA63-314C68A48E9A}"/>
              </a:ext>
            </a:extLst>
          </p:cNvPr>
          <p:cNvSpPr txBox="1"/>
          <p:nvPr/>
        </p:nvSpPr>
        <p:spPr>
          <a:xfrm>
            <a:off x="1598529" y="3921712"/>
            <a:ext cx="604654" cy="218393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ar-OM" b="1" dirty="0">
                <a:solidFill>
                  <a:schemeClr val="bg1"/>
                </a:solidFill>
              </a:rPr>
              <a:t>الذكاء الفائق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46DA058-887E-610A-30E4-0F2E9B61E576}"/>
              </a:ext>
            </a:extLst>
          </p:cNvPr>
          <p:cNvSpPr txBox="1"/>
          <p:nvPr/>
        </p:nvSpPr>
        <p:spPr>
          <a:xfrm>
            <a:off x="3753306" y="3921712"/>
            <a:ext cx="633507" cy="218393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ar-OM" b="1" dirty="0">
                <a:solidFill>
                  <a:schemeClr val="bg1"/>
                </a:solidFill>
              </a:rPr>
              <a:t>البشر الآليون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B1499C7-1B75-4B21-13ED-5CB27CA29723}"/>
              </a:ext>
            </a:extLst>
          </p:cNvPr>
          <p:cNvSpPr txBox="1"/>
          <p:nvPr/>
        </p:nvSpPr>
        <p:spPr>
          <a:xfrm>
            <a:off x="5605818" y="3921712"/>
            <a:ext cx="970137" cy="218393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ar-OM" b="1" dirty="0">
                <a:solidFill>
                  <a:schemeClr val="bg1"/>
                </a:solidFill>
              </a:rPr>
              <a:t>الروبوتات ذاتية التحرك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673954-AEBC-BBED-3B68-458880073C19}"/>
              </a:ext>
            </a:extLst>
          </p:cNvPr>
          <p:cNvSpPr txBox="1"/>
          <p:nvPr/>
        </p:nvSpPr>
        <p:spPr>
          <a:xfrm>
            <a:off x="7402890" y="3921712"/>
            <a:ext cx="772969" cy="218393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ar-OM" b="1" dirty="0">
                <a:solidFill>
                  <a:schemeClr val="bg1"/>
                </a:solidFill>
              </a:rPr>
              <a:t>المواصلات الذكية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0613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 animBg="1"/>
      <p:bldP spid="9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object 2">
            <a:extLst>
              <a:ext uri="{FF2B5EF4-FFF2-40B4-BE49-F238E27FC236}">
                <a16:creationId xmlns:a16="http://schemas.microsoft.com/office/drawing/2014/main" id="{55754C54-F4E1-09CB-3925-1466B33D78AA}"/>
              </a:ext>
            </a:extLst>
          </p:cNvPr>
          <p:cNvSpPr txBox="1">
            <a:spLocks/>
          </p:cNvSpPr>
          <p:nvPr/>
        </p:nvSpPr>
        <p:spPr>
          <a:xfrm>
            <a:off x="1187748" y="158672"/>
            <a:ext cx="6768504" cy="693585"/>
          </a:xfrm>
          <a:prstGeom prst="rect">
            <a:avLst/>
          </a:prstGeom>
        </p:spPr>
        <p:txBody>
          <a:bodyPr vert="horz" wrap="square" lIns="0" tIns="5776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45"/>
              </a:spcBef>
            </a:pPr>
            <a:r>
              <a:rPr lang="ar-sa" sz="2400" b="1">
                <a:solidFill>
                  <a:schemeClr val="bg1"/>
                </a:solidFill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أهم التقنيات التي تواكب المستقبل</a:t>
            </a:r>
          </a:p>
          <a:p>
            <a:pPr algn="ctr">
              <a:spcBef>
                <a:spcPts val="5"/>
              </a:spcBef>
            </a:pPr>
            <a:r>
              <a:rPr lang="ar-sa" sz="2069">
                <a:solidFill>
                  <a:srgbClr val="FFFFFF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في دولة الإمارات وحول العالم</a:t>
            </a:r>
          </a:p>
        </p:txBody>
      </p:sp>
      <p:sp>
        <p:nvSpPr>
          <p:cNvPr id="80" name="object 3">
            <a:extLst>
              <a:ext uri="{FF2B5EF4-FFF2-40B4-BE49-F238E27FC236}">
                <a16:creationId xmlns:a16="http://schemas.microsoft.com/office/drawing/2014/main" id="{4C0BFDEC-2ABE-F1FC-A4EC-B32D14370FE1}"/>
              </a:ext>
            </a:extLst>
          </p:cNvPr>
          <p:cNvSpPr/>
          <p:nvPr/>
        </p:nvSpPr>
        <p:spPr>
          <a:xfrm flipH="1">
            <a:off x="7268526" y="1169669"/>
            <a:ext cx="1669833" cy="1669833"/>
          </a:xfrm>
          <a:custGeom>
            <a:avLst/>
            <a:gdLst/>
            <a:ahLst/>
            <a:cxnLst/>
            <a:rect l="l" t="t" r="r" b="b"/>
            <a:pathLst>
              <a:path w="3671570" h="3671570">
                <a:moveTo>
                  <a:pt x="3387436" y="0"/>
                </a:moveTo>
                <a:lnTo>
                  <a:pt x="283677" y="0"/>
                </a:lnTo>
                <a:lnTo>
                  <a:pt x="237662" y="3712"/>
                </a:lnTo>
                <a:lnTo>
                  <a:pt x="194011" y="14461"/>
                </a:lnTo>
                <a:lnTo>
                  <a:pt x="153308" y="31662"/>
                </a:lnTo>
                <a:lnTo>
                  <a:pt x="116138" y="54731"/>
                </a:lnTo>
                <a:lnTo>
                  <a:pt x="83085" y="83085"/>
                </a:lnTo>
                <a:lnTo>
                  <a:pt x="54731" y="116138"/>
                </a:lnTo>
                <a:lnTo>
                  <a:pt x="31662" y="153308"/>
                </a:lnTo>
                <a:lnTo>
                  <a:pt x="14461" y="194011"/>
                </a:lnTo>
                <a:lnTo>
                  <a:pt x="3712" y="237662"/>
                </a:lnTo>
                <a:lnTo>
                  <a:pt x="0" y="283677"/>
                </a:lnTo>
                <a:lnTo>
                  <a:pt x="0" y="3387436"/>
                </a:lnTo>
                <a:lnTo>
                  <a:pt x="3712" y="3433451"/>
                </a:lnTo>
                <a:lnTo>
                  <a:pt x="14461" y="3477102"/>
                </a:lnTo>
                <a:lnTo>
                  <a:pt x="31662" y="3517804"/>
                </a:lnTo>
                <a:lnTo>
                  <a:pt x="54731" y="3554974"/>
                </a:lnTo>
                <a:lnTo>
                  <a:pt x="83085" y="3588028"/>
                </a:lnTo>
                <a:lnTo>
                  <a:pt x="116138" y="3616381"/>
                </a:lnTo>
                <a:lnTo>
                  <a:pt x="153308" y="3639450"/>
                </a:lnTo>
                <a:lnTo>
                  <a:pt x="194011" y="3656651"/>
                </a:lnTo>
                <a:lnTo>
                  <a:pt x="237662" y="3667400"/>
                </a:lnTo>
                <a:lnTo>
                  <a:pt x="283677" y="3671113"/>
                </a:lnTo>
                <a:lnTo>
                  <a:pt x="3387436" y="3671113"/>
                </a:lnTo>
                <a:lnTo>
                  <a:pt x="3433448" y="3667400"/>
                </a:lnTo>
                <a:lnTo>
                  <a:pt x="3477098" y="3656651"/>
                </a:lnTo>
                <a:lnTo>
                  <a:pt x="3517799" y="3639450"/>
                </a:lnTo>
                <a:lnTo>
                  <a:pt x="3554969" y="3616381"/>
                </a:lnTo>
                <a:lnTo>
                  <a:pt x="3588024" y="3588028"/>
                </a:lnTo>
                <a:lnTo>
                  <a:pt x="3616378" y="3554974"/>
                </a:lnTo>
                <a:lnTo>
                  <a:pt x="3639448" y="3517804"/>
                </a:lnTo>
                <a:lnTo>
                  <a:pt x="3656650" y="3477102"/>
                </a:lnTo>
                <a:lnTo>
                  <a:pt x="3667400" y="3433451"/>
                </a:lnTo>
                <a:lnTo>
                  <a:pt x="3671113" y="3387436"/>
                </a:lnTo>
                <a:lnTo>
                  <a:pt x="3671113" y="283677"/>
                </a:lnTo>
                <a:lnTo>
                  <a:pt x="3667400" y="237662"/>
                </a:lnTo>
                <a:lnTo>
                  <a:pt x="3656650" y="194011"/>
                </a:lnTo>
                <a:lnTo>
                  <a:pt x="3639448" y="153308"/>
                </a:lnTo>
                <a:lnTo>
                  <a:pt x="3616378" y="116138"/>
                </a:lnTo>
                <a:lnTo>
                  <a:pt x="3588024" y="83085"/>
                </a:lnTo>
                <a:lnTo>
                  <a:pt x="3554969" y="54731"/>
                </a:lnTo>
                <a:lnTo>
                  <a:pt x="3517799" y="31662"/>
                </a:lnTo>
                <a:lnTo>
                  <a:pt x="3477098" y="14461"/>
                </a:lnTo>
                <a:lnTo>
                  <a:pt x="3433448" y="3712"/>
                </a:lnTo>
                <a:lnTo>
                  <a:pt x="3387436" y="0"/>
                </a:lnTo>
                <a:close/>
              </a:path>
            </a:pathLst>
          </a:custGeom>
          <a:solidFill>
            <a:srgbClr val="FFFFFF">
              <a:alpha val="79998"/>
            </a:srgbClr>
          </a:solidFill>
        </p:spPr>
        <p:txBody>
          <a:bodyPr wrap="square" lIns="0" tIns="0" rIns="0" bIns="0" rtlCol="0"/>
          <a:lstStyle/>
          <a:p>
            <a:endParaRPr sz="372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81" name="object 4">
            <a:extLst>
              <a:ext uri="{FF2B5EF4-FFF2-40B4-BE49-F238E27FC236}">
                <a16:creationId xmlns:a16="http://schemas.microsoft.com/office/drawing/2014/main" id="{193953EF-9FDC-88AB-09E3-6B40D10F4843}"/>
              </a:ext>
            </a:extLst>
          </p:cNvPr>
          <p:cNvSpPr/>
          <p:nvPr/>
        </p:nvSpPr>
        <p:spPr>
          <a:xfrm flipH="1">
            <a:off x="5513198" y="1169669"/>
            <a:ext cx="1669833" cy="1669833"/>
          </a:xfrm>
          <a:custGeom>
            <a:avLst/>
            <a:gdLst/>
            <a:ahLst/>
            <a:cxnLst/>
            <a:rect l="l" t="t" r="r" b="b"/>
            <a:pathLst>
              <a:path w="3671570" h="3671570">
                <a:moveTo>
                  <a:pt x="3387436" y="0"/>
                </a:moveTo>
                <a:lnTo>
                  <a:pt x="283677" y="0"/>
                </a:lnTo>
                <a:lnTo>
                  <a:pt x="237662" y="3712"/>
                </a:lnTo>
                <a:lnTo>
                  <a:pt x="194011" y="14461"/>
                </a:lnTo>
                <a:lnTo>
                  <a:pt x="153308" y="31662"/>
                </a:lnTo>
                <a:lnTo>
                  <a:pt x="116138" y="54731"/>
                </a:lnTo>
                <a:lnTo>
                  <a:pt x="83085" y="83085"/>
                </a:lnTo>
                <a:lnTo>
                  <a:pt x="54731" y="116138"/>
                </a:lnTo>
                <a:lnTo>
                  <a:pt x="31662" y="153308"/>
                </a:lnTo>
                <a:lnTo>
                  <a:pt x="14461" y="194011"/>
                </a:lnTo>
                <a:lnTo>
                  <a:pt x="3712" y="237662"/>
                </a:lnTo>
                <a:lnTo>
                  <a:pt x="0" y="283677"/>
                </a:lnTo>
                <a:lnTo>
                  <a:pt x="0" y="3387436"/>
                </a:lnTo>
                <a:lnTo>
                  <a:pt x="3712" y="3433451"/>
                </a:lnTo>
                <a:lnTo>
                  <a:pt x="14461" y="3477102"/>
                </a:lnTo>
                <a:lnTo>
                  <a:pt x="31662" y="3517804"/>
                </a:lnTo>
                <a:lnTo>
                  <a:pt x="54731" y="3554974"/>
                </a:lnTo>
                <a:lnTo>
                  <a:pt x="83085" y="3588028"/>
                </a:lnTo>
                <a:lnTo>
                  <a:pt x="116138" y="3616381"/>
                </a:lnTo>
                <a:lnTo>
                  <a:pt x="153308" y="3639450"/>
                </a:lnTo>
                <a:lnTo>
                  <a:pt x="194011" y="3656651"/>
                </a:lnTo>
                <a:lnTo>
                  <a:pt x="237662" y="3667400"/>
                </a:lnTo>
                <a:lnTo>
                  <a:pt x="283677" y="3671113"/>
                </a:lnTo>
                <a:lnTo>
                  <a:pt x="3387436" y="3671113"/>
                </a:lnTo>
                <a:lnTo>
                  <a:pt x="3433451" y="3667400"/>
                </a:lnTo>
                <a:lnTo>
                  <a:pt x="3477102" y="3656651"/>
                </a:lnTo>
                <a:lnTo>
                  <a:pt x="3517804" y="3639450"/>
                </a:lnTo>
                <a:lnTo>
                  <a:pt x="3554974" y="3616381"/>
                </a:lnTo>
                <a:lnTo>
                  <a:pt x="3588028" y="3588028"/>
                </a:lnTo>
                <a:lnTo>
                  <a:pt x="3616381" y="3554974"/>
                </a:lnTo>
                <a:lnTo>
                  <a:pt x="3639450" y="3517804"/>
                </a:lnTo>
                <a:lnTo>
                  <a:pt x="3656651" y="3477102"/>
                </a:lnTo>
                <a:lnTo>
                  <a:pt x="3667400" y="3433451"/>
                </a:lnTo>
                <a:lnTo>
                  <a:pt x="3671113" y="3387436"/>
                </a:lnTo>
                <a:lnTo>
                  <a:pt x="3671113" y="283677"/>
                </a:lnTo>
                <a:lnTo>
                  <a:pt x="3667400" y="237662"/>
                </a:lnTo>
                <a:lnTo>
                  <a:pt x="3656651" y="194011"/>
                </a:lnTo>
                <a:lnTo>
                  <a:pt x="3639450" y="153308"/>
                </a:lnTo>
                <a:lnTo>
                  <a:pt x="3616381" y="116138"/>
                </a:lnTo>
                <a:lnTo>
                  <a:pt x="3588028" y="83085"/>
                </a:lnTo>
                <a:lnTo>
                  <a:pt x="3554974" y="54731"/>
                </a:lnTo>
                <a:lnTo>
                  <a:pt x="3517804" y="31662"/>
                </a:lnTo>
                <a:lnTo>
                  <a:pt x="3477102" y="14461"/>
                </a:lnTo>
                <a:lnTo>
                  <a:pt x="3433451" y="3712"/>
                </a:lnTo>
                <a:lnTo>
                  <a:pt x="3387436" y="0"/>
                </a:lnTo>
                <a:close/>
              </a:path>
            </a:pathLst>
          </a:custGeom>
          <a:solidFill>
            <a:srgbClr val="FFFFFF">
              <a:alpha val="79998"/>
            </a:srgbClr>
          </a:solidFill>
        </p:spPr>
        <p:txBody>
          <a:bodyPr wrap="square" lIns="0" tIns="0" rIns="0" bIns="0" rtlCol="0"/>
          <a:lstStyle/>
          <a:p>
            <a:endParaRPr sz="372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82" name="object 5">
            <a:extLst>
              <a:ext uri="{FF2B5EF4-FFF2-40B4-BE49-F238E27FC236}">
                <a16:creationId xmlns:a16="http://schemas.microsoft.com/office/drawing/2014/main" id="{DD679DA2-229B-C57E-B955-0B96DD4CF8B7}"/>
              </a:ext>
            </a:extLst>
          </p:cNvPr>
          <p:cNvSpPr/>
          <p:nvPr/>
        </p:nvSpPr>
        <p:spPr>
          <a:xfrm flipH="1">
            <a:off x="3757870" y="1169669"/>
            <a:ext cx="1669833" cy="1669833"/>
          </a:xfrm>
          <a:custGeom>
            <a:avLst/>
            <a:gdLst/>
            <a:ahLst/>
            <a:cxnLst/>
            <a:rect l="l" t="t" r="r" b="b"/>
            <a:pathLst>
              <a:path w="3671570" h="3671570">
                <a:moveTo>
                  <a:pt x="3387436" y="0"/>
                </a:moveTo>
                <a:lnTo>
                  <a:pt x="283677" y="0"/>
                </a:lnTo>
                <a:lnTo>
                  <a:pt x="237662" y="3712"/>
                </a:lnTo>
                <a:lnTo>
                  <a:pt x="194011" y="14461"/>
                </a:lnTo>
                <a:lnTo>
                  <a:pt x="153308" y="31662"/>
                </a:lnTo>
                <a:lnTo>
                  <a:pt x="116138" y="54731"/>
                </a:lnTo>
                <a:lnTo>
                  <a:pt x="83085" y="83085"/>
                </a:lnTo>
                <a:lnTo>
                  <a:pt x="54731" y="116138"/>
                </a:lnTo>
                <a:lnTo>
                  <a:pt x="31662" y="153308"/>
                </a:lnTo>
                <a:lnTo>
                  <a:pt x="14461" y="194011"/>
                </a:lnTo>
                <a:lnTo>
                  <a:pt x="3712" y="237662"/>
                </a:lnTo>
                <a:lnTo>
                  <a:pt x="0" y="283677"/>
                </a:lnTo>
                <a:lnTo>
                  <a:pt x="0" y="3387436"/>
                </a:lnTo>
                <a:lnTo>
                  <a:pt x="3712" y="3433451"/>
                </a:lnTo>
                <a:lnTo>
                  <a:pt x="14461" y="3477102"/>
                </a:lnTo>
                <a:lnTo>
                  <a:pt x="31662" y="3517804"/>
                </a:lnTo>
                <a:lnTo>
                  <a:pt x="54731" y="3554974"/>
                </a:lnTo>
                <a:lnTo>
                  <a:pt x="83085" y="3588028"/>
                </a:lnTo>
                <a:lnTo>
                  <a:pt x="116138" y="3616381"/>
                </a:lnTo>
                <a:lnTo>
                  <a:pt x="153308" y="3639450"/>
                </a:lnTo>
                <a:lnTo>
                  <a:pt x="194011" y="3656651"/>
                </a:lnTo>
                <a:lnTo>
                  <a:pt x="237662" y="3667400"/>
                </a:lnTo>
                <a:lnTo>
                  <a:pt x="283677" y="3671113"/>
                </a:lnTo>
                <a:lnTo>
                  <a:pt x="3387436" y="3671113"/>
                </a:lnTo>
                <a:lnTo>
                  <a:pt x="3433451" y="3667400"/>
                </a:lnTo>
                <a:lnTo>
                  <a:pt x="3477102" y="3656651"/>
                </a:lnTo>
                <a:lnTo>
                  <a:pt x="3517804" y="3639450"/>
                </a:lnTo>
                <a:lnTo>
                  <a:pt x="3554974" y="3616381"/>
                </a:lnTo>
                <a:lnTo>
                  <a:pt x="3588028" y="3588028"/>
                </a:lnTo>
                <a:lnTo>
                  <a:pt x="3616381" y="3554974"/>
                </a:lnTo>
                <a:lnTo>
                  <a:pt x="3639450" y="3517804"/>
                </a:lnTo>
                <a:lnTo>
                  <a:pt x="3656651" y="3477102"/>
                </a:lnTo>
                <a:lnTo>
                  <a:pt x="3667400" y="3433451"/>
                </a:lnTo>
                <a:lnTo>
                  <a:pt x="3671113" y="3387436"/>
                </a:lnTo>
                <a:lnTo>
                  <a:pt x="3671113" y="283677"/>
                </a:lnTo>
                <a:lnTo>
                  <a:pt x="3667400" y="237662"/>
                </a:lnTo>
                <a:lnTo>
                  <a:pt x="3656651" y="194011"/>
                </a:lnTo>
                <a:lnTo>
                  <a:pt x="3639450" y="153308"/>
                </a:lnTo>
                <a:lnTo>
                  <a:pt x="3616381" y="116138"/>
                </a:lnTo>
                <a:lnTo>
                  <a:pt x="3588028" y="83085"/>
                </a:lnTo>
                <a:lnTo>
                  <a:pt x="3554974" y="54731"/>
                </a:lnTo>
                <a:lnTo>
                  <a:pt x="3517804" y="31662"/>
                </a:lnTo>
                <a:lnTo>
                  <a:pt x="3477102" y="14461"/>
                </a:lnTo>
                <a:lnTo>
                  <a:pt x="3433451" y="3712"/>
                </a:lnTo>
                <a:lnTo>
                  <a:pt x="3387436" y="0"/>
                </a:lnTo>
                <a:close/>
              </a:path>
            </a:pathLst>
          </a:custGeom>
          <a:solidFill>
            <a:srgbClr val="FFFFFF">
              <a:alpha val="79998"/>
            </a:srgbClr>
          </a:solidFill>
        </p:spPr>
        <p:txBody>
          <a:bodyPr wrap="square" lIns="0" tIns="0" rIns="0" bIns="0" rtlCol="0"/>
          <a:lstStyle/>
          <a:p>
            <a:endParaRPr sz="372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83" name="object 6">
            <a:extLst>
              <a:ext uri="{FF2B5EF4-FFF2-40B4-BE49-F238E27FC236}">
                <a16:creationId xmlns:a16="http://schemas.microsoft.com/office/drawing/2014/main" id="{CB78944B-A34C-76DF-9F3C-4AEF5D16B0C3}"/>
              </a:ext>
            </a:extLst>
          </p:cNvPr>
          <p:cNvSpPr/>
          <p:nvPr/>
        </p:nvSpPr>
        <p:spPr>
          <a:xfrm flipH="1">
            <a:off x="2002541" y="1169669"/>
            <a:ext cx="1669833" cy="1669833"/>
          </a:xfrm>
          <a:custGeom>
            <a:avLst/>
            <a:gdLst/>
            <a:ahLst/>
            <a:cxnLst/>
            <a:rect l="l" t="t" r="r" b="b"/>
            <a:pathLst>
              <a:path w="3671569" h="3671570">
                <a:moveTo>
                  <a:pt x="3387436" y="0"/>
                </a:moveTo>
                <a:lnTo>
                  <a:pt x="283677" y="0"/>
                </a:lnTo>
                <a:lnTo>
                  <a:pt x="237662" y="3712"/>
                </a:lnTo>
                <a:lnTo>
                  <a:pt x="194011" y="14461"/>
                </a:lnTo>
                <a:lnTo>
                  <a:pt x="153308" y="31662"/>
                </a:lnTo>
                <a:lnTo>
                  <a:pt x="116138" y="54731"/>
                </a:lnTo>
                <a:lnTo>
                  <a:pt x="83085" y="83085"/>
                </a:lnTo>
                <a:lnTo>
                  <a:pt x="54731" y="116138"/>
                </a:lnTo>
                <a:lnTo>
                  <a:pt x="31662" y="153308"/>
                </a:lnTo>
                <a:lnTo>
                  <a:pt x="14461" y="194011"/>
                </a:lnTo>
                <a:lnTo>
                  <a:pt x="3712" y="237662"/>
                </a:lnTo>
                <a:lnTo>
                  <a:pt x="0" y="283677"/>
                </a:lnTo>
                <a:lnTo>
                  <a:pt x="0" y="3387436"/>
                </a:lnTo>
                <a:lnTo>
                  <a:pt x="3712" y="3433451"/>
                </a:lnTo>
                <a:lnTo>
                  <a:pt x="14461" y="3477102"/>
                </a:lnTo>
                <a:lnTo>
                  <a:pt x="31662" y="3517804"/>
                </a:lnTo>
                <a:lnTo>
                  <a:pt x="54731" y="3554974"/>
                </a:lnTo>
                <a:lnTo>
                  <a:pt x="83085" y="3588028"/>
                </a:lnTo>
                <a:lnTo>
                  <a:pt x="116138" y="3616381"/>
                </a:lnTo>
                <a:lnTo>
                  <a:pt x="153308" y="3639450"/>
                </a:lnTo>
                <a:lnTo>
                  <a:pt x="194011" y="3656651"/>
                </a:lnTo>
                <a:lnTo>
                  <a:pt x="237662" y="3667400"/>
                </a:lnTo>
                <a:lnTo>
                  <a:pt x="283677" y="3671113"/>
                </a:lnTo>
                <a:lnTo>
                  <a:pt x="3387436" y="3671113"/>
                </a:lnTo>
                <a:lnTo>
                  <a:pt x="3433451" y="3667400"/>
                </a:lnTo>
                <a:lnTo>
                  <a:pt x="3477102" y="3656651"/>
                </a:lnTo>
                <a:lnTo>
                  <a:pt x="3517804" y="3639450"/>
                </a:lnTo>
                <a:lnTo>
                  <a:pt x="3554974" y="3616381"/>
                </a:lnTo>
                <a:lnTo>
                  <a:pt x="3588028" y="3588028"/>
                </a:lnTo>
                <a:lnTo>
                  <a:pt x="3616381" y="3554974"/>
                </a:lnTo>
                <a:lnTo>
                  <a:pt x="3639450" y="3517804"/>
                </a:lnTo>
                <a:lnTo>
                  <a:pt x="3656651" y="3477102"/>
                </a:lnTo>
                <a:lnTo>
                  <a:pt x="3667400" y="3433451"/>
                </a:lnTo>
                <a:lnTo>
                  <a:pt x="3671113" y="3387436"/>
                </a:lnTo>
                <a:lnTo>
                  <a:pt x="3671113" y="283677"/>
                </a:lnTo>
                <a:lnTo>
                  <a:pt x="3667400" y="237662"/>
                </a:lnTo>
                <a:lnTo>
                  <a:pt x="3656651" y="194011"/>
                </a:lnTo>
                <a:lnTo>
                  <a:pt x="3639450" y="153308"/>
                </a:lnTo>
                <a:lnTo>
                  <a:pt x="3616381" y="116138"/>
                </a:lnTo>
                <a:lnTo>
                  <a:pt x="3588028" y="83085"/>
                </a:lnTo>
                <a:lnTo>
                  <a:pt x="3554974" y="54731"/>
                </a:lnTo>
                <a:lnTo>
                  <a:pt x="3517804" y="31662"/>
                </a:lnTo>
                <a:lnTo>
                  <a:pt x="3477102" y="14461"/>
                </a:lnTo>
                <a:lnTo>
                  <a:pt x="3433451" y="3712"/>
                </a:lnTo>
                <a:lnTo>
                  <a:pt x="3387436" y="0"/>
                </a:lnTo>
                <a:close/>
              </a:path>
            </a:pathLst>
          </a:custGeom>
          <a:solidFill>
            <a:srgbClr val="FFFFFF">
              <a:alpha val="79998"/>
            </a:srgbClr>
          </a:solidFill>
        </p:spPr>
        <p:txBody>
          <a:bodyPr wrap="square" lIns="0" tIns="0" rIns="0" bIns="0" rtlCol="0"/>
          <a:lstStyle/>
          <a:p>
            <a:endParaRPr sz="372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84" name="object 7">
            <a:extLst>
              <a:ext uri="{FF2B5EF4-FFF2-40B4-BE49-F238E27FC236}">
                <a16:creationId xmlns:a16="http://schemas.microsoft.com/office/drawing/2014/main" id="{FC937875-A364-4F8D-CC66-DEA0B334AA48}"/>
              </a:ext>
            </a:extLst>
          </p:cNvPr>
          <p:cNvSpPr/>
          <p:nvPr/>
        </p:nvSpPr>
        <p:spPr>
          <a:xfrm flipH="1">
            <a:off x="247213" y="1169669"/>
            <a:ext cx="1669833" cy="1669833"/>
          </a:xfrm>
          <a:custGeom>
            <a:avLst/>
            <a:gdLst/>
            <a:ahLst/>
            <a:cxnLst/>
            <a:rect l="l" t="t" r="r" b="b"/>
            <a:pathLst>
              <a:path w="3671569" h="3671570">
                <a:moveTo>
                  <a:pt x="3387436" y="0"/>
                </a:moveTo>
                <a:lnTo>
                  <a:pt x="283677" y="0"/>
                </a:lnTo>
                <a:lnTo>
                  <a:pt x="237662" y="3712"/>
                </a:lnTo>
                <a:lnTo>
                  <a:pt x="194011" y="14461"/>
                </a:lnTo>
                <a:lnTo>
                  <a:pt x="153308" y="31662"/>
                </a:lnTo>
                <a:lnTo>
                  <a:pt x="116138" y="54731"/>
                </a:lnTo>
                <a:lnTo>
                  <a:pt x="83085" y="83085"/>
                </a:lnTo>
                <a:lnTo>
                  <a:pt x="54731" y="116138"/>
                </a:lnTo>
                <a:lnTo>
                  <a:pt x="31662" y="153308"/>
                </a:lnTo>
                <a:lnTo>
                  <a:pt x="14461" y="194011"/>
                </a:lnTo>
                <a:lnTo>
                  <a:pt x="3712" y="237662"/>
                </a:lnTo>
                <a:lnTo>
                  <a:pt x="0" y="283677"/>
                </a:lnTo>
                <a:lnTo>
                  <a:pt x="0" y="3387436"/>
                </a:lnTo>
                <a:lnTo>
                  <a:pt x="3712" y="3433451"/>
                </a:lnTo>
                <a:lnTo>
                  <a:pt x="14461" y="3477102"/>
                </a:lnTo>
                <a:lnTo>
                  <a:pt x="31662" y="3517804"/>
                </a:lnTo>
                <a:lnTo>
                  <a:pt x="54731" y="3554974"/>
                </a:lnTo>
                <a:lnTo>
                  <a:pt x="83085" y="3588028"/>
                </a:lnTo>
                <a:lnTo>
                  <a:pt x="116138" y="3616381"/>
                </a:lnTo>
                <a:lnTo>
                  <a:pt x="153308" y="3639450"/>
                </a:lnTo>
                <a:lnTo>
                  <a:pt x="194011" y="3656651"/>
                </a:lnTo>
                <a:lnTo>
                  <a:pt x="237662" y="3667400"/>
                </a:lnTo>
                <a:lnTo>
                  <a:pt x="283677" y="3671113"/>
                </a:lnTo>
                <a:lnTo>
                  <a:pt x="3387436" y="3671113"/>
                </a:lnTo>
                <a:lnTo>
                  <a:pt x="3433448" y="3667400"/>
                </a:lnTo>
                <a:lnTo>
                  <a:pt x="3477098" y="3656651"/>
                </a:lnTo>
                <a:lnTo>
                  <a:pt x="3517799" y="3639450"/>
                </a:lnTo>
                <a:lnTo>
                  <a:pt x="3554969" y="3616381"/>
                </a:lnTo>
                <a:lnTo>
                  <a:pt x="3588024" y="3588028"/>
                </a:lnTo>
                <a:lnTo>
                  <a:pt x="3616378" y="3554974"/>
                </a:lnTo>
                <a:lnTo>
                  <a:pt x="3639448" y="3517804"/>
                </a:lnTo>
                <a:lnTo>
                  <a:pt x="3656650" y="3477102"/>
                </a:lnTo>
                <a:lnTo>
                  <a:pt x="3667400" y="3433451"/>
                </a:lnTo>
                <a:lnTo>
                  <a:pt x="3671113" y="3387436"/>
                </a:lnTo>
                <a:lnTo>
                  <a:pt x="3671113" y="283677"/>
                </a:lnTo>
                <a:lnTo>
                  <a:pt x="3667400" y="237662"/>
                </a:lnTo>
                <a:lnTo>
                  <a:pt x="3656650" y="194011"/>
                </a:lnTo>
                <a:lnTo>
                  <a:pt x="3639448" y="153308"/>
                </a:lnTo>
                <a:lnTo>
                  <a:pt x="3616378" y="116138"/>
                </a:lnTo>
                <a:lnTo>
                  <a:pt x="3588024" y="83085"/>
                </a:lnTo>
                <a:lnTo>
                  <a:pt x="3554969" y="54731"/>
                </a:lnTo>
                <a:lnTo>
                  <a:pt x="3517799" y="31662"/>
                </a:lnTo>
                <a:lnTo>
                  <a:pt x="3477098" y="14461"/>
                </a:lnTo>
                <a:lnTo>
                  <a:pt x="3433448" y="3712"/>
                </a:lnTo>
                <a:lnTo>
                  <a:pt x="3387436" y="0"/>
                </a:lnTo>
                <a:close/>
              </a:path>
            </a:pathLst>
          </a:custGeom>
          <a:solidFill>
            <a:srgbClr val="FFFFFF">
              <a:alpha val="79998"/>
            </a:srgbClr>
          </a:solidFill>
        </p:spPr>
        <p:txBody>
          <a:bodyPr wrap="square" lIns="0" tIns="0" rIns="0" bIns="0" rtlCol="0"/>
          <a:lstStyle/>
          <a:p>
            <a:endParaRPr sz="372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85" name="object 8">
            <a:extLst>
              <a:ext uri="{FF2B5EF4-FFF2-40B4-BE49-F238E27FC236}">
                <a16:creationId xmlns:a16="http://schemas.microsoft.com/office/drawing/2014/main" id="{FA631329-3272-368F-1990-F555AFD93B30}"/>
              </a:ext>
            </a:extLst>
          </p:cNvPr>
          <p:cNvSpPr/>
          <p:nvPr/>
        </p:nvSpPr>
        <p:spPr>
          <a:xfrm flipH="1">
            <a:off x="6411242" y="2917613"/>
            <a:ext cx="1669833" cy="1669833"/>
          </a:xfrm>
          <a:custGeom>
            <a:avLst/>
            <a:gdLst/>
            <a:ahLst/>
            <a:cxnLst/>
            <a:rect l="l" t="t" r="r" b="b"/>
            <a:pathLst>
              <a:path w="3671570" h="3671570">
                <a:moveTo>
                  <a:pt x="3387436" y="0"/>
                </a:moveTo>
                <a:lnTo>
                  <a:pt x="283677" y="0"/>
                </a:lnTo>
                <a:lnTo>
                  <a:pt x="237662" y="3712"/>
                </a:lnTo>
                <a:lnTo>
                  <a:pt x="194011" y="14461"/>
                </a:lnTo>
                <a:lnTo>
                  <a:pt x="153308" y="31662"/>
                </a:lnTo>
                <a:lnTo>
                  <a:pt x="116138" y="54731"/>
                </a:lnTo>
                <a:lnTo>
                  <a:pt x="83085" y="83085"/>
                </a:lnTo>
                <a:lnTo>
                  <a:pt x="54731" y="116138"/>
                </a:lnTo>
                <a:lnTo>
                  <a:pt x="31662" y="153308"/>
                </a:lnTo>
                <a:lnTo>
                  <a:pt x="14461" y="194011"/>
                </a:lnTo>
                <a:lnTo>
                  <a:pt x="3712" y="237662"/>
                </a:lnTo>
                <a:lnTo>
                  <a:pt x="0" y="283677"/>
                </a:lnTo>
                <a:lnTo>
                  <a:pt x="0" y="3387436"/>
                </a:lnTo>
                <a:lnTo>
                  <a:pt x="3712" y="3433451"/>
                </a:lnTo>
                <a:lnTo>
                  <a:pt x="14461" y="3477102"/>
                </a:lnTo>
                <a:lnTo>
                  <a:pt x="31662" y="3517804"/>
                </a:lnTo>
                <a:lnTo>
                  <a:pt x="54731" y="3554974"/>
                </a:lnTo>
                <a:lnTo>
                  <a:pt x="83085" y="3588028"/>
                </a:lnTo>
                <a:lnTo>
                  <a:pt x="116138" y="3616381"/>
                </a:lnTo>
                <a:lnTo>
                  <a:pt x="153308" y="3639450"/>
                </a:lnTo>
                <a:lnTo>
                  <a:pt x="194011" y="3656651"/>
                </a:lnTo>
                <a:lnTo>
                  <a:pt x="237662" y="3667400"/>
                </a:lnTo>
                <a:lnTo>
                  <a:pt x="283677" y="3671113"/>
                </a:lnTo>
                <a:lnTo>
                  <a:pt x="3387436" y="3671113"/>
                </a:lnTo>
                <a:lnTo>
                  <a:pt x="3433451" y="3667400"/>
                </a:lnTo>
                <a:lnTo>
                  <a:pt x="3477102" y="3656651"/>
                </a:lnTo>
                <a:lnTo>
                  <a:pt x="3517804" y="3639450"/>
                </a:lnTo>
                <a:lnTo>
                  <a:pt x="3554974" y="3616381"/>
                </a:lnTo>
                <a:lnTo>
                  <a:pt x="3588028" y="3588028"/>
                </a:lnTo>
                <a:lnTo>
                  <a:pt x="3616381" y="3554974"/>
                </a:lnTo>
                <a:lnTo>
                  <a:pt x="3639450" y="3517804"/>
                </a:lnTo>
                <a:lnTo>
                  <a:pt x="3656651" y="3477102"/>
                </a:lnTo>
                <a:lnTo>
                  <a:pt x="3667400" y="3433451"/>
                </a:lnTo>
                <a:lnTo>
                  <a:pt x="3671113" y="3387436"/>
                </a:lnTo>
                <a:lnTo>
                  <a:pt x="3671113" y="283677"/>
                </a:lnTo>
                <a:lnTo>
                  <a:pt x="3667400" y="237662"/>
                </a:lnTo>
                <a:lnTo>
                  <a:pt x="3656651" y="194011"/>
                </a:lnTo>
                <a:lnTo>
                  <a:pt x="3639450" y="153308"/>
                </a:lnTo>
                <a:lnTo>
                  <a:pt x="3616381" y="116138"/>
                </a:lnTo>
                <a:lnTo>
                  <a:pt x="3588028" y="83085"/>
                </a:lnTo>
                <a:lnTo>
                  <a:pt x="3554974" y="54731"/>
                </a:lnTo>
                <a:lnTo>
                  <a:pt x="3517804" y="31662"/>
                </a:lnTo>
                <a:lnTo>
                  <a:pt x="3477102" y="14461"/>
                </a:lnTo>
                <a:lnTo>
                  <a:pt x="3433451" y="3712"/>
                </a:lnTo>
                <a:lnTo>
                  <a:pt x="3387436" y="0"/>
                </a:lnTo>
                <a:close/>
              </a:path>
            </a:pathLst>
          </a:custGeom>
          <a:solidFill>
            <a:srgbClr val="FFFFFF">
              <a:alpha val="79998"/>
            </a:srgbClr>
          </a:solidFill>
        </p:spPr>
        <p:txBody>
          <a:bodyPr wrap="square" lIns="0" tIns="0" rIns="0" bIns="0" rtlCol="0"/>
          <a:lstStyle/>
          <a:p>
            <a:endParaRPr sz="372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86" name="object 9">
            <a:extLst>
              <a:ext uri="{FF2B5EF4-FFF2-40B4-BE49-F238E27FC236}">
                <a16:creationId xmlns:a16="http://schemas.microsoft.com/office/drawing/2014/main" id="{703B8A66-7B26-02F6-B956-3C659DA80044}"/>
              </a:ext>
            </a:extLst>
          </p:cNvPr>
          <p:cNvSpPr/>
          <p:nvPr/>
        </p:nvSpPr>
        <p:spPr>
          <a:xfrm flipH="1">
            <a:off x="4655914" y="2917613"/>
            <a:ext cx="1669833" cy="1669833"/>
          </a:xfrm>
          <a:custGeom>
            <a:avLst/>
            <a:gdLst/>
            <a:ahLst/>
            <a:cxnLst/>
            <a:rect l="l" t="t" r="r" b="b"/>
            <a:pathLst>
              <a:path w="3671570" h="3671570">
                <a:moveTo>
                  <a:pt x="3387436" y="0"/>
                </a:moveTo>
                <a:lnTo>
                  <a:pt x="283677" y="0"/>
                </a:lnTo>
                <a:lnTo>
                  <a:pt x="237662" y="3712"/>
                </a:lnTo>
                <a:lnTo>
                  <a:pt x="194011" y="14461"/>
                </a:lnTo>
                <a:lnTo>
                  <a:pt x="153308" y="31662"/>
                </a:lnTo>
                <a:lnTo>
                  <a:pt x="116138" y="54731"/>
                </a:lnTo>
                <a:lnTo>
                  <a:pt x="83085" y="83085"/>
                </a:lnTo>
                <a:lnTo>
                  <a:pt x="54731" y="116138"/>
                </a:lnTo>
                <a:lnTo>
                  <a:pt x="31662" y="153308"/>
                </a:lnTo>
                <a:lnTo>
                  <a:pt x="14461" y="194011"/>
                </a:lnTo>
                <a:lnTo>
                  <a:pt x="3712" y="237662"/>
                </a:lnTo>
                <a:lnTo>
                  <a:pt x="0" y="283677"/>
                </a:lnTo>
                <a:lnTo>
                  <a:pt x="0" y="3387436"/>
                </a:lnTo>
                <a:lnTo>
                  <a:pt x="3712" y="3433451"/>
                </a:lnTo>
                <a:lnTo>
                  <a:pt x="14461" y="3477102"/>
                </a:lnTo>
                <a:lnTo>
                  <a:pt x="31662" y="3517804"/>
                </a:lnTo>
                <a:lnTo>
                  <a:pt x="54731" y="3554974"/>
                </a:lnTo>
                <a:lnTo>
                  <a:pt x="83085" y="3588028"/>
                </a:lnTo>
                <a:lnTo>
                  <a:pt x="116138" y="3616381"/>
                </a:lnTo>
                <a:lnTo>
                  <a:pt x="153308" y="3639450"/>
                </a:lnTo>
                <a:lnTo>
                  <a:pt x="194011" y="3656651"/>
                </a:lnTo>
                <a:lnTo>
                  <a:pt x="237662" y="3667400"/>
                </a:lnTo>
                <a:lnTo>
                  <a:pt x="283677" y="3671113"/>
                </a:lnTo>
                <a:lnTo>
                  <a:pt x="3387436" y="3671113"/>
                </a:lnTo>
                <a:lnTo>
                  <a:pt x="3433448" y="3667400"/>
                </a:lnTo>
                <a:lnTo>
                  <a:pt x="3477098" y="3656651"/>
                </a:lnTo>
                <a:lnTo>
                  <a:pt x="3517799" y="3639450"/>
                </a:lnTo>
                <a:lnTo>
                  <a:pt x="3554969" y="3616381"/>
                </a:lnTo>
                <a:lnTo>
                  <a:pt x="3588024" y="3588028"/>
                </a:lnTo>
                <a:lnTo>
                  <a:pt x="3616378" y="3554974"/>
                </a:lnTo>
                <a:lnTo>
                  <a:pt x="3639448" y="3517804"/>
                </a:lnTo>
                <a:lnTo>
                  <a:pt x="3656650" y="3477102"/>
                </a:lnTo>
                <a:lnTo>
                  <a:pt x="3667400" y="3433451"/>
                </a:lnTo>
                <a:lnTo>
                  <a:pt x="3671113" y="3387436"/>
                </a:lnTo>
                <a:lnTo>
                  <a:pt x="3671113" y="283677"/>
                </a:lnTo>
                <a:lnTo>
                  <a:pt x="3667400" y="237662"/>
                </a:lnTo>
                <a:lnTo>
                  <a:pt x="3656650" y="194011"/>
                </a:lnTo>
                <a:lnTo>
                  <a:pt x="3639448" y="153308"/>
                </a:lnTo>
                <a:lnTo>
                  <a:pt x="3616378" y="116138"/>
                </a:lnTo>
                <a:lnTo>
                  <a:pt x="3588024" y="83085"/>
                </a:lnTo>
                <a:lnTo>
                  <a:pt x="3554969" y="54731"/>
                </a:lnTo>
                <a:lnTo>
                  <a:pt x="3517799" y="31662"/>
                </a:lnTo>
                <a:lnTo>
                  <a:pt x="3477098" y="14461"/>
                </a:lnTo>
                <a:lnTo>
                  <a:pt x="3433448" y="3712"/>
                </a:lnTo>
                <a:lnTo>
                  <a:pt x="3387436" y="0"/>
                </a:lnTo>
                <a:close/>
              </a:path>
            </a:pathLst>
          </a:custGeom>
          <a:solidFill>
            <a:srgbClr val="FFFFFF">
              <a:alpha val="79998"/>
            </a:srgbClr>
          </a:solidFill>
        </p:spPr>
        <p:txBody>
          <a:bodyPr wrap="square" lIns="0" tIns="0" rIns="0" bIns="0" rtlCol="0"/>
          <a:lstStyle/>
          <a:p>
            <a:endParaRPr sz="372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87" name="object 10">
            <a:extLst>
              <a:ext uri="{FF2B5EF4-FFF2-40B4-BE49-F238E27FC236}">
                <a16:creationId xmlns:a16="http://schemas.microsoft.com/office/drawing/2014/main" id="{96C423CF-1AD5-5F44-2DE2-F747530E6718}"/>
              </a:ext>
            </a:extLst>
          </p:cNvPr>
          <p:cNvSpPr/>
          <p:nvPr/>
        </p:nvSpPr>
        <p:spPr>
          <a:xfrm flipH="1">
            <a:off x="2900585" y="2917613"/>
            <a:ext cx="1669833" cy="1669833"/>
          </a:xfrm>
          <a:custGeom>
            <a:avLst/>
            <a:gdLst/>
            <a:ahLst/>
            <a:cxnLst/>
            <a:rect l="l" t="t" r="r" b="b"/>
            <a:pathLst>
              <a:path w="3671569" h="3671570">
                <a:moveTo>
                  <a:pt x="3387436" y="0"/>
                </a:moveTo>
                <a:lnTo>
                  <a:pt x="283677" y="0"/>
                </a:lnTo>
                <a:lnTo>
                  <a:pt x="237662" y="3712"/>
                </a:lnTo>
                <a:lnTo>
                  <a:pt x="194011" y="14461"/>
                </a:lnTo>
                <a:lnTo>
                  <a:pt x="153308" y="31662"/>
                </a:lnTo>
                <a:lnTo>
                  <a:pt x="116138" y="54731"/>
                </a:lnTo>
                <a:lnTo>
                  <a:pt x="83085" y="83085"/>
                </a:lnTo>
                <a:lnTo>
                  <a:pt x="54731" y="116138"/>
                </a:lnTo>
                <a:lnTo>
                  <a:pt x="31662" y="153308"/>
                </a:lnTo>
                <a:lnTo>
                  <a:pt x="14461" y="194011"/>
                </a:lnTo>
                <a:lnTo>
                  <a:pt x="3712" y="237662"/>
                </a:lnTo>
                <a:lnTo>
                  <a:pt x="0" y="283677"/>
                </a:lnTo>
                <a:lnTo>
                  <a:pt x="0" y="3387436"/>
                </a:lnTo>
                <a:lnTo>
                  <a:pt x="3712" y="3433451"/>
                </a:lnTo>
                <a:lnTo>
                  <a:pt x="14461" y="3477102"/>
                </a:lnTo>
                <a:lnTo>
                  <a:pt x="31662" y="3517804"/>
                </a:lnTo>
                <a:lnTo>
                  <a:pt x="54731" y="3554974"/>
                </a:lnTo>
                <a:lnTo>
                  <a:pt x="83085" y="3588028"/>
                </a:lnTo>
                <a:lnTo>
                  <a:pt x="116138" y="3616381"/>
                </a:lnTo>
                <a:lnTo>
                  <a:pt x="153308" y="3639450"/>
                </a:lnTo>
                <a:lnTo>
                  <a:pt x="194011" y="3656651"/>
                </a:lnTo>
                <a:lnTo>
                  <a:pt x="237662" y="3667400"/>
                </a:lnTo>
                <a:lnTo>
                  <a:pt x="283677" y="3671113"/>
                </a:lnTo>
                <a:lnTo>
                  <a:pt x="3387436" y="3671113"/>
                </a:lnTo>
                <a:lnTo>
                  <a:pt x="3433448" y="3667400"/>
                </a:lnTo>
                <a:lnTo>
                  <a:pt x="3477098" y="3656651"/>
                </a:lnTo>
                <a:lnTo>
                  <a:pt x="3517799" y="3639450"/>
                </a:lnTo>
                <a:lnTo>
                  <a:pt x="3554969" y="3616381"/>
                </a:lnTo>
                <a:lnTo>
                  <a:pt x="3588024" y="3588028"/>
                </a:lnTo>
                <a:lnTo>
                  <a:pt x="3616378" y="3554974"/>
                </a:lnTo>
                <a:lnTo>
                  <a:pt x="3639448" y="3517804"/>
                </a:lnTo>
                <a:lnTo>
                  <a:pt x="3656650" y="3477102"/>
                </a:lnTo>
                <a:lnTo>
                  <a:pt x="3667400" y="3433451"/>
                </a:lnTo>
                <a:lnTo>
                  <a:pt x="3671113" y="3387436"/>
                </a:lnTo>
                <a:lnTo>
                  <a:pt x="3671113" y="283677"/>
                </a:lnTo>
                <a:lnTo>
                  <a:pt x="3667400" y="237662"/>
                </a:lnTo>
                <a:lnTo>
                  <a:pt x="3656650" y="194011"/>
                </a:lnTo>
                <a:lnTo>
                  <a:pt x="3639448" y="153308"/>
                </a:lnTo>
                <a:lnTo>
                  <a:pt x="3616378" y="116138"/>
                </a:lnTo>
                <a:lnTo>
                  <a:pt x="3588024" y="83085"/>
                </a:lnTo>
                <a:lnTo>
                  <a:pt x="3554969" y="54731"/>
                </a:lnTo>
                <a:lnTo>
                  <a:pt x="3517799" y="31662"/>
                </a:lnTo>
                <a:lnTo>
                  <a:pt x="3477098" y="14461"/>
                </a:lnTo>
                <a:lnTo>
                  <a:pt x="3433448" y="3712"/>
                </a:lnTo>
                <a:lnTo>
                  <a:pt x="3387436" y="0"/>
                </a:lnTo>
                <a:close/>
              </a:path>
            </a:pathLst>
          </a:custGeom>
          <a:solidFill>
            <a:srgbClr val="FFFFFF">
              <a:alpha val="79998"/>
            </a:srgbClr>
          </a:solidFill>
        </p:spPr>
        <p:txBody>
          <a:bodyPr wrap="square" lIns="0" tIns="0" rIns="0" bIns="0" rtlCol="0"/>
          <a:lstStyle/>
          <a:p>
            <a:endParaRPr sz="372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88" name="object 11">
            <a:extLst>
              <a:ext uri="{FF2B5EF4-FFF2-40B4-BE49-F238E27FC236}">
                <a16:creationId xmlns:a16="http://schemas.microsoft.com/office/drawing/2014/main" id="{1FC68B8F-F8A1-0424-0234-3331776CC037}"/>
              </a:ext>
            </a:extLst>
          </p:cNvPr>
          <p:cNvSpPr txBox="1"/>
          <p:nvPr/>
        </p:nvSpPr>
        <p:spPr>
          <a:xfrm flipH="1">
            <a:off x="7460737" y="1387855"/>
            <a:ext cx="767724" cy="178456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5776">
              <a:spcBef>
                <a:spcPts val="55"/>
              </a:spcBef>
            </a:pPr>
            <a:r>
              <a:rPr lang="ar-sa" sz="1114" b="1" dirty="0">
                <a:solidFill>
                  <a:srgbClr val="6400FF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لذكاء الاصطناعي</a:t>
            </a:r>
          </a:p>
        </p:txBody>
      </p:sp>
      <p:sp>
        <p:nvSpPr>
          <p:cNvPr id="89" name="object 12">
            <a:extLst>
              <a:ext uri="{FF2B5EF4-FFF2-40B4-BE49-F238E27FC236}">
                <a16:creationId xmlns:a16="http://schemas.microsoft.com/office/drawing/2014/main" id="{9B349A78-378D-628D-1E1C-EE5EFE173A25}"/>
              </a:ext>
            </a:extLst>
          </p:cNvPr>
          <p:cNvSpPr txBox="1"/>
          <p:nvPr/>
        </p:nvSpPr>
        <p:spPr>
          <a:xfrm flipH="1">
            <a:off x="5770531" y="1387855"/>
            <a:ext cx="719397" cy="178456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5776">
              <a:spcBef>
                <a:spcPts val="55"/>
              </a:spcBef>
            </a:pPr>
            <a:r>
              <a:rPr lang="ar-sa" sz="1114" b="1">
                <a:solidFill>
                  <a:srgbClr val="6400FF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لكوانتوم</a:t>
            </a:r>
          </a:p>
        </p:txBody>
      </p:sp>
      <p:sp>
        <p:nvSpPr>
          <p:cNvPr id="90" name="object 13">
            <a:extLst>
              <a:ext uri="{FF2B5EF4-FFF2-40B4-BE49-F238E27FC236}">
                <a16:creationId xmlns:a16="http://schemas.microsoft.com/office/drawing/2014/main" id="{E69B49FC-D311-5E70-61CE-771AB5DDFBCC}"/>
              </a:ext>
            </a:extLst>
          </p:cNvPr>
          <p:cNvSpPr txBox="1"/>
          <p:nvPr/>
        </p:nvSpPr>
        <p:spPr>
          <a:xfrm flipH="1">
            <a:off x="3730666" y="1384338"/>
            <a:ext cx="1013309" cy="178730"/>
          </a:xfrm>
          <a:prstGeom prst="rect">
            <a:avLst/>
          </a:prstGeom>
        </p:spPr>
        <p:txBody>
          <a:bodyPr vert="horz" wrap="square" lIns="0" tIns="5487" rIns="0" bIns="0" rtlCol="0">
            <a:spAutoFit/>
          </a:bodyPr>
          <a:lstStyle/>
          <a:p>
            <a:pPr marL="5776" marR="2310">
              <a:lnSpc>
                <a:spcPct val="101000"/>
              </a:lnSpc>
              <a:spcBef>
                <a:spcPts val="43"/>
              </a:spcBef>
            </a:pPr>
            <a:r>
              <a:rPr lang="ar-sa" sz="1114" b="1" dirty="0">
                <a:solidFill>
                  <a:srgbClr val="6400FF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أنظمة الدفع والفضاء</a:t>
            </a:r>
          </a:p>
        </p:txBody>
      </p:sp>
      <p:sp>
        <p:nvSpPr>
          <p:cNvPr id="91" name="object 14">
            <a:extLst>
              <a:ext uri="{FF2B5EF4-FFF2-40B4-BE49-F238E27FC236}">
                <a16:creationId xmlns:a16="http://schemas.microsoft.com/office/drawing/2014/main" id="{63E637F6-5350-D117-702A-237C7DA9C94B}"/>
              </a:ext>
            </a:extLst>
          </p:cNvPr>
          <p:cNvSpPr txBox="1"/>
          <p:nvPr/>
        </p:nvSpPr>
        <p:spPr>
          <a:xfrm flipH="1">
            <a:off x="2075690" y="1387855"/>
            <a:ext cx="967764" cy="178730"/>
          </a:xfrm>
          <a:prstGeom prst="rect">
            <a:avLst/>
          </a:prstGeom>
        </p:spPr>
        <p:txBody>
          <a:bodyPr vert="horz" wrap="square" lIns="0" tIns="5487" rIns="0" bIns="0" rtlCol="0">
            <a:spAutoFit/>
          </a:bodyPr>
          <a:lstStyle/>
          <a:p>
            <a:pPr marL="5776" marR="2310">
              <a:lnSpc>
                <a:spcPct val="101000"/>
              </a:lnSpc>
              <a:spcBef>
                <a:spcPts val="43"/>
              </a:spcBef>
            </a:pPr>
            <a:r>
              <a:rPr lang="ar-sa" sz="1114" b="1" dirty="0">
                <a:solidFill>
                  <a:srgbClr val="6400FF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لروبوتات المستقلة</a:t>
            </a:r>
          </a:p>
        </p:txBody>
      </p:sp>
      <p:sp>
        <p:nvSpPr>
          <p:cNvPr id="92" name="object 15">
            <a:extLst>
              <a:ext uri="{FF2B5EF4-FFF2-40B4-BE49-F238E27FC236}">
                <a16:creationId xmlns:a16="http://schemas.microsoft.com/office/drawing/2014/main" id="{7D8F64A7-833C-B4DF-FE95-346218CAE8A3}"/>
              </a:ext>
            </a:extLst>
          </p:cNvPr>
          <p:cNvSpPr txBox="1"/>
          <p:nvPr/>
        </p:nvSpPr>
        <p:spPr>
          <a:xfrm flipH="1">
            <a:off x="422034" y="1381833"/>
            <a:ext cx="768204" cy="178730"/>
          </a:xfrm>
          <a:prstGeom prst="rect">
            <a:avLst/>
          </a:prstGeom>
        </p:spPr>
        <p:txBody>
          <a:bodyPr vert="horz" wrap="square" lIns="0" tIns="5487" rIns="0" bIns="0" rtlCol="0">
            <a:spAutoFit/>
          </a:bodyPr>
          <a:lstStyle/>
          <a:p>
            <a:pPr marL="5776" marR="2310">
              <a:lnSpc>
                <a:spcPct val="101000"/>
              </a:lnSpc>
              <a:spcBef>
                <a:spcPts val="43"/>
              </a:spcBef>
            </a:pPr>
            <a:r>
              <a:rPr lang="ar-sa" sz="1114" b="1" dirty="0">
                <a:solidFill>
                  <a:srgbClr val="6400FF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لمواد المتقدمة</a:t>
            </a:r>
          </a:p>
        </p:txBody>
      </p:sp>
      <p:pic>
        <p:nvPicPr>
          <p:cNvPr id="93" name="object 16">
            <a:extLst>
              <a:ext uri="{FF2B5EF4-FFF2-40B4-BE49-F238E27FC236}">
                <a16:creationId xmlns:a16="http://schemas.microsoft.com/office/drawing/2014/main" id="{5C1256D8-5A53-D4BA-6024-476657D67363}"/>
              </a:ext>
            </a:extLst>
          </p:cNvPr>
          <p:cNvPicPr/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145465" y="2917614"/>
            <a:ext cx="1669625" cy="1669625"/>
          </a:xfrm>
          <a:prstGeom prst="rect">
            <a:avLst/>
          </a:prstGeom>
        </p:spPr>
      </p:pic>
      <p:sp>
        <p:nvSpPr>
          <p:cNvPr id="94" name="object 17">
            <a:extLst>
              <a:ext uri="{FF2B5EF4-FFF2-40B4-BE49-F238E27FC236}">
                <a16:creationId xmlns:a16="http://schemas.microsoft.com/office/drawing/2014/main" id="{DC35809B-C8F4-AB57-0DD3-2F23933CD394}"/>
              </a:ext>
            </a:extLst>
          </p:cNvPr>
          <p:cNvSpPr txBox="1"/>
          <p:nvPr/>
        </p:nvSpPr>
        <p:spPr>
          <a:xfrm flipH="1">
            <a:off x="6463335" y="3154033"/>
            <a:ext cx="1072765" cy="313317"/>
          </a:xfrm>
          <a:prstGeom prst="rect">
            <a:avLst/>
          </a:prstGeom>
        </p:spPr>
        <p:txBody>
          <a:bodyPr vert="horz" wrap="square" lIns="0" tIns="5487" rIns="0" bIns="0" rtlCol="0">
            <a:spAutoFit/>
          </a:bodyPr>
          <a:lstStyle/>
          <a:p>
            <a:pPr marL="5776" marR="2310">
              <a:spcBef>
                <a:spcPts val="43"/>
              </a:spcBef>
            </a:pPr>
            <a:r>
              <a:rPr lang="ar-sa" sz="1000" b="1" dirty="0">
                <a:solidFill>
                  <a:srgbClr val="6400FF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لطاقة المتجددة والمستدامة</a:t>
            </a:r>
          </a:p>
          <a:p>
            <a:pPr marL="5776" marR="2310">
              <a:spcBef>
                <a:spcPts val="43"/>
              </a:spcBef>
            </a:pPr>
            <a:endParaRPr lang="ar-sa" sz="1000" b="1" dirty="0">
              <a:solidFill>
                <a:srgbClr val="6400FF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95" name="object 18">
            <a:extLst>
              <a:ext uri="{FF2B5EF4-FFF2-40B4-BE49-F238E27FC236}">
                <a16:creationId xmlns:a16="http://schemas.microsoft.com/office/drawing/2014/main" id="{5B3956EC-732B-283E-7DBD-0520F3A440B2}"/>
              </a:ext>
            </a:extLst>
          </p:cNvPr>
          <p:cNvSpPr txBox="1"/>
          <p:nvPr/>
        </p:nvSpPr>
        <p:spPr>
          <a:xfrm flipH="1">
            <a:off x="4597054" y="3152987"/>
            <a:ext cx="945781" cy="178730"/>
          </a:xfrm>
          <a:prstGeom prst="rect">
            <a:avLst/>
          </a:prstGeom>
        </p:spPr>
        <p:txBody>
          <a:bodyPr vert="horz" wrap="square" lIns="0" tIns="5487" rIns="0" bIns="0" rtlCol="0">
            <a:spAutoFit/>
          </a:bodyPr>
          <a:lstStyle/>
          <a:p>
            <a:pPr marL="5776" marR="2310">
              <a:lnSpc>
                <a:spcPct val="101000"/>
              </a:lnSpc>
              <a:spcBef>
                <a:spcPts val="43"/>
              </a:spcBef>
            </a:pPr>
            <a:r>
              <a:rPr lang="ar-sa" sz="1114" b="1" dirty="0">
                <a:solidFill>
                  <a:srgbClr val="6400FF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 الطاقة الموجهة</a:t>
            </a:r>
          </a:p>
        </p:txBody>
      </p:sp>
      <p:sp>
        <p:nvSpPr>
          <p:cNvPr id="96" name="object 19">
            <a:extLst>
              <a:ext uri="{FF2B5EF4-FFF2-40B4-BE49-F238E27FC236}">
                <a16:creationId xmlns:a16="http://schemas.microsoft.com/office/drawing/2014/main" id="{5567505E-DE2B-44A7-26B4-F9C11453D762}"/>
              </a:ext>
            </a:extLst>
          </p:cNvPr>
          <p:cNvSpPr txBox="1"/>
          <p:nvPr/>
        </p:nvSpPr>
        <p:spPr>
          <a:xfrm flipH="1">
            <a:off x="3148692" y="3154161"/>
            <a:ext cx="646620" cy="178730"/>
          </a:xfrm>
          <a:prstGeom prst="rect">
            <a:avLst/>
          </a:prstGeom>
        </p:spPr>
        <p:txBody>
          <a:bodyPr vert="horz" wrap="square" lIns="0" tIns="5487" rIns="0" bIns="0" rtlCol="0">
            <a:spAutoFit/>
          </a:bodyPr>
          <a:lstStyle/>
          <a:p>
            <a:pPr marL="5776" marR="2310">
              <a:lnSpc>
                <a:spcPct val="101000"/>
              </a:lnSpc>
              <a:spcBef>
                <a:spcPts val="43"/>
              </a:spcBef>
            </a:pPr>
            <a:r>
              <a:rPr lang="ar-sa" sz="1114" b="1" dirty="0">
                <a:solidFill>
                  <a:srgbClr val="6400FF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لأنظمة الآمنة</a:t>
            </a:r>
          </a:p>
        </p:txBody>
      </p:sp>
      <p:sp>
        <p:nvSpPr>
          <p:cNvPr id="97" name="object 20">
            <a:extLst>
              <a:ext uri="{FF2B5EF4-FFF2-40B4-BE49-F238E27FC236}">
                <a16:creationId xmlns:a16="http://schemas.microsoft.com/office/drawing/2014/main" id="{2E5B5DFC-82DD-A586-4D43-5E77FE34141C}"/>
              </a:ext>
            </a:extLst>
          </p:cNvPr>
          <p:cNvSpPr txBox="1"/>
          <p:nvPr/>
        </p:nvSpPr>
        <p:spPr>
          <a:xfrm flipH="1">
            <a:off x="1148642" y="3148482"/>
            <a:ext cx="1056713" cy="178456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5776">
              <a:spcBef>
                <a:spcPts val="55"/>
              </a:spcBef>
            </a:pPr>
            <a:r>
              <a:rPr lang="ar-sa" sz="1114" b="1" dirty="0">
                <a:solidFill>
                  <a:srgbClr val="6400FF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لتشفير</a:t>
            </a:r>
          </a:p>
        </p:txBody>
      </p:sp>
      <p:sp>
        <p:nvSpPr>
          <p:cNvPr id="98" name="object 21">
            <a:extLst>
              <a:ext uri="{FF2B5EF4-FFF2-40B4-BE49-F238E27FC236}">
                <a16:creationId xmlns:a16="http://schemas.microsoft.com/office/drawing/2014/main" id="{6232A028-5C55-FCBB-AA8B-8A3C94FD7A9C}"/>
              </a:ext>
            </a:extLst>
          </p:cNvPr>
          <p:cNvSpPr txBox="1"/>
          <p:nvPr/>
        </p:nvSpPr>
        <p:spPr>
          <a:xfrm flipH="1">
            <a:off x="7520382" y="1892524"/>
            <a:ext cx="1164435" cy="490289"/>
          </a:xfrm>
          <a:prstGeom prst="rect">
            <a:avLst/>
          </a:prstGeom>
        </p:spPr>
        <p:txBody>
          <a:bodyPr vert="horz" wrap="square" lIns="0" tIns="5487" rIns="0" bIns="0" rtlCol="0">
            <a:spAutoFit/>
          </a:bodyPr>
          <a:lstStyle/>
          <a:p>
            <a:pPr marL="5776" marR="2310" algn="ctr">
              <a:spcBef>
                <a:spcPts val="43"/>
              </a:spcBef>
            </a:pPr>
            <a:r>
              <a:rPr lang="ar-sa" sz="1050">
                <a:latin typeface="Sakkal Majalla" panose="02000000000000000000" pitchFamily="2" charset="-78"/>
                <a:cs typeface="Sakkal Majalla" panose="02000000000000000000" pitchFamily="2" charset="-78"/>
              </a:rPr>
              <a:t>ابتكار حواسيب قادرة على التفكير واتخاذ القرار كما يفعل الإنسان</a:t>
            </a:r>
          </a:p>
        </p:txBody>
      </p:sp>
      <p:sp>
        <p:nvSpPr>
          <p:cNvPr id="99" name="object 22">
            <a:extLst>
              <a:ext uri="{FF2B5EF4-FFF2-40B4-BE49-F238E27FC236}">
                <a16:creationId xmlns:a16="http://schemas.microsoft.com/office/drawing/2014/main" id="{F980DA24-52C3-CE31-8FA9-4F67DE99A908}"/>
              </a:ext>
            </a:extLst>
          </p:cNvPr>
          <p:cNvSpPr txBox="1"/>
          <p:nvPr/>
        </p:nvSpPr>
        <p:spPr>
          <a:xfrm flipH="1">
            <a:off x="5640101" y="1892524"/>
            <a:ext cx="1414246" cy="490289"/>
          </a:xfrm>
          <a:prstGeom prst="rect">
            <a:avLst/>
          </a:prstGeom>
        </p:spPr>
        <p:txBody>
          <a:bodyPr vert="horz" wrap="square" lIns="0" tIns="5487" rIns="0" bIns="0" rtlCol="0">
            <a:spAutoFit/>
          </a:bodyPr>
          <a:lstStyle/>
          <a:p>
            <a:pPr algn="ctr">
              <a:spcBef>
                <a:spcPts val="43"/>
              </a:spcBef>
            </a:pPr>
            <a:r>
              <a:rPr lang="ar-sa" sz="1050">
                <a:latin typeface="Sakkal Majalla" panose="02000000000000000000" pitchFamily="2" charset="-78"/>
                <a:cs typeface="Sakkal Majalla" panose="02000000000000000000" pitchFamily="2" charset="-78"/>
              </a:rPr>
              <a:t>تطوير حواسيب فائقة السرعة لحل التحديات التي لا تستطيع الحواسيب العادية معالجتها</a:t>
            </a:r>
          </a:p>
        </p:txBody>
      </p:sp>
      <p:sp>
        <p:nvSpPr>
          <p:cNvPr id="100" name="object 23">
            <a:extLst>
              <a:ext uri="{FF2B5EF4-FFF2-40B4-BE49-F238E27FC236}">
                <a16:creationId xmlns:a16="http://schemas.microsoft.com/office/drawing/2014/main" id="{C4988144-E39C-BEF5-62FA-577E079AB1F4}"/>
              </a:ext>
            </a:extLst>
          </p:cNvPr>
          <p:cNvSpPr txBox="1"/>
          <p:nvPr/>
        </p:nvSpPr>
        <p:spPr>
          <a:xfrm flipH="1">
            <a:off x="6602764" y="3635373"/>
            <a:ext cx="1285153" cy="328706"/>
          </a:xfrm>
          <a:prstGeom prst="rect">
            <a:avLst/>
          </a:prstGeom>
        </p:spPr>
        <p:txBody>
          <a:bodyPr vert="horz" wrap="square" lIns="0" tIns="5487" rIns="0" bIns="0" rtlCol="0">
            <a:spAutoFit/>
          </a:bodyPr>
          <a:lstStyle/>
          <a:p>
            <a:pPr marL="5776" marR="2310" indent="20505" algn="ctr">
              <a:spcBef>
                <a:spcPts val="43"/>
              </a:spcBef>
            </a:pPr>
            <a:r>
              <a:rPr lang="ar-sa" sz="1050">
                <a:latin typeface="Sakkal Majalla" panose="02000000000000000000" pitchFamily="2" charset="-78"/>
                <a:cs typeface="Sakkal Majalla" panose="02000000000000000000" pitchFamily="2" charset="-78"/>
              </a:rPr>
              <a:t>طاقة نظيفة من الشمس والرياح والمياه والنباتات لحماية كوكبنا</a:t>
            </a:r>
          </a:p>
        </p:txBody>
      </p:sp>
      <p:sp>
        <p:nvSpPr>
          <p:cNvPr id="101" name="object 24">
            <a:extLst>
              <a:ext uri="{FF2B5EF4-FFF2-40B4-BE49-F238E27FC236}">
                <a16:creationId xmlns:a16="http://schemas.microsoft.com/office/drawing/2014/main" id="{B40C878F-08CA-51CA-7FDD-027730E0D8B0}"/>
              </a:ext>
            </a:extLst>
          </p:cNvPr>
          <p:cNvSpPr txBox="1"/>
          <p:nvPr/>
        </p:nvSpPr>
        <p:spPr>
          <a:xfrm flipH="1">
            <a:off x="3058623" y="3635373"/>
            <a:ext cx="1351865" cy="328706"/>
          </a:xfrm>
          <a:prstGeom prst="rect">
            <a:avLst/>
          </a:prstGeom>
        </p:spPr>
        <p:txBody>
          <a:bodyPr vert="horz" wrap="square" lIns="0" tIns="5487" rIns="0" bIns="0" rtlCol="0">
            <a:spAutoFit/>
          </a:bodyPr>
          <a:lstStyle/>
          <a:p>
            <a:pPr marL="5487" marR="2310" algn="ctr">
              <a:spcBef>
                <a:spcPts val="43"/>
              </a:spcBef>
            </a:pPr>
            <a:r>
              <a:rPr lang="ar-sa" sz="1050">
                <a:latin typeface="Sakkal Majalla" panose="02000000000000000000" pitchFamily="2" charset="-78"/>
                <a:cs typeface="Sakkal Majalla" panose="02000000000000000000" pitchFamily="2" charset="-78"/>
              </a:rPr>
              <a:t>إبقاء الأجهزة والشبكات ذاتية العمل وآمنة من المتسللين</a:t>
            </a:r>
          </a:p>
        </p:txBody>
      </p:sp>
      <p:sp>
        <p:nvSpPr>
          <p:cNvPr id="102" name="object 25">
            <a:extLst>
              <a:ext uri="{FF2B5EF4-FFF2-40B4-BE49-F238E27FC236}">
                <a16:creationId xmlns:a16="http://schemas.microsoft.com/office/drawing/2014/main" id="{A269E1F6-BD44-7AB1-326D-ABCCACAA76CE}"/>
              </a:ext>
            </a:extLst>
          </p:cNvPr>
          <p:cNvSpPr txBox="1"/>
          <p:nvPr/>
        </p:nvSpPr>
        <p:spPr>
          <a:xfrm flipH="1">
            <a:off x="1288495" y="3635373"/>
            <a:ext cx="1381612" cy="490289"/>
          </a:xfrm>
          <a:prstGeom prst="rect">
            <a:avLst/>
          </a:prstGeom>
        </p:spPr>
        <p:txBody>
          <a:bodyPr vert="horz" wrap="square" lIns="0" tIns="5487" rIns="0" bIns="0" rtlCol="0">
            <a:spAutoFit/>
          </a:bodyPr>
          <a:lstStyle/>
          <a:p>
            <a:pPr algn="ctr">
              <a:spcBef>
                <a:spcPts val="43"/>
              </a:spcBef>
            </a:pPr>
            <a:r>
              <a:rPr lang="ar-sa" sz="1050">
                <a:latin typeface="Sakkal Majalla" panose="02000000000000000000" pitchFamily="2" charset="-78"/>
                <a:cs typeface="Sakkal Majalla" panose="02000000000000000000" pitchFamily="2" charset="-78"/>
              </a:rPr>
              <a:t>شيفرات سرّية تضمن حماية بياناتك… وتؤكد أنك أنت الحقيقي، لا نسخة الذكاء الاصطناعي!</a:t>
            </a:r>
          </a:p>
        </p:txBody>
      </p:sp>
      <p:sp>
        <p:nvSpPr>
          <p:cNvPr id="103" name="object 26">
            <a:extLst>
              <a:ext uri="{FF2B5EF4-FFF2-40B4-BE49-F238E27FC236}">
                <a16:creationId xmlns:a16="http://schemas.microsoft.com/office/drawing/2014/main" id="{ABE25B36-EB0A-F656-C371-3C4E3A803DBA}"/>
              </a:ext>
            </a:extLst>
          </p:cNvPr>
          <p:cNvSpPr txBox="1"/>
          <p:nvPr/>
        </p:nvSpPr>
        <p:spPr>
          <a:xfrm flipH="1">
            <a:off x="4769873" y="3635373"/>
            <a:ext cx="1440238" cy="490289"/>
          </a:xfrm>
          <a:prstGeom prst="rect">
            <a:avLst/>
          </a:prstGeom>
        </p:spPr>
        <p:txBody>
          <a:bodyPr vert="horz" wrap="square" lIns="0" tIns="5487" rIns="0" bIns="0" rtlCol="0">
            <a:spAutoFit/>
          </a:bodyPr>
          <a:lstStyle/>
          <a:p>
            <a:pPr algn="ctr">
              <a:spcBef>
                <a:spcPts val="43"/>
              </a:spcBef>
            </a:pPr>
            <a:r>
              <a:rPr lang="ar-sa" sz="1050">
                <a:latin typeface="Sakkal Majalla" panose="02000000000000000000" pitchFamily="2" charset="-78"/>
                <a:cs typeface="Sakkal Majalla" panose="02000000000000000000" pitchFamily="2" charset="-78"/>
              </a:rPr>
              <a:t>رسم ملامح المستقبل في مجال الكهرومغناطيسيات والليزر</a:t>
            </a:r>
          </a:p>
          <a:p>
            <a:pPr algn="ctr"/>
            <a:endParaRPr lang="ar-sa" sz="105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04" name="object 27">
            <a:extLst>
              <a:ext uri="{FF2B5EF4-FFF2-40B4-BE49-F238E27FC236}">
                <a16:creationId xmlns:a16="http://schemas.microsoft.com/office/drawing/2014/main" id="{D494818C-1768-9710-9F0A-3DA767A71967}"/>
              </a:ext>
            </a:extLst>
          </p:cNvPr>
          <p:cNvSpPr txBox="1"/>
          <p:nvPr/>
        </p:nvSpPr>
        <p:spPr>
          <a:xfrm flipH="1">
            <a:off x="3806332" y="1892524"/>
            <a:ext cx="1571352" cy="490289"/>
          </a:xfrm>
          <a:prstGeom prst="rect">
            <a:avLst/>
          </a:prstGeom>
        </p:spPr>
        <p:txBody>
          <a:bodyPr vert="horz" wrap="square" lIns="0" tIns="5487" rIns="0" bIns="0" rtlCol="0">
            <a:spAutoFit/>
          </a:bodyPr>
          <a:lstStyle/>
          <a:p>
            <a:pPr algn="ctr">
              <a:spcBef>
                <a:spcPts val="43"/>
              </a:spcBef>
            </a:pPr>
            <a:r>
              <a:rPr lang="ar-sa" sz="1050">
                <a:latin typeface="Sakkal Majalla" panose="02000000000000000000" pitchFamily="2" charset="-78"/>
                <a:cs typeface="Sakkal Majalla" panose="02000000000000000000" pitchFamily="2" charset="-78"/>
              </a:rPr>
              <a:t>تحريك الصواريخ والأقمار الصناعية عبر الفضاء</a:t>
            </a:r>
          </a:p>
          <a:p>
            <a:pPr marL="5487" marR="2310" algn="ctr"/>
            <a:endParaRPr lang="ar-sa" sz="105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05" name="object 28">
            <a:extLst>
              <a:ext uri="{FF2B5EF4-FFF2-40B4-BE49-F238E27FC236}">
                <a16:creationId xmlns:a16="http://schemas.microsoft.com/office/drawing/2014/main" id="{33A54E91-3968-42A2-3779-D52567859525}"/>
              </a:ext>
            </a:extLst>
          </p:cNvPr>
          <p:cNvSpPr txBox="1"/>
          <p:nvPr/>
        </p:nvSpPr>
        <p:spPr>
          <a:xfrm flipH="1">
            <a:off x="2086028" y="1892524"/>
            <a:ext cx="1501463" cy="328706"/>
          </a:xfrm>
          <a:prstGeom prst="rect">
            <a:avLst/>
          </a:prstGeom>
        </p:spPr>
        <p:txBody>
          <a:bodyPr vert="horz" wrap="square" lIns="0" tIns="5487" rIns="0" bIns="0" rtlCol="0">
            <a:spAutoFit/>
          </a:bodyPr>
          <a:lstStyle/>
          <a:p>
            <a:pPr marL="5776" marR="2310" algn="ctr">
              <a:spcBef>
                <a:spcPts val="43"/>
              </a:spcBef>
            </a:pPr>
            <a:r>
              <a:rPr lang="ar-sa" sz="1050">
                <a:latin typeface="Sakkal Majalla" panose="02000000000000000000" pitchFamily="2" charset="-78"/>
                <a:cs typeface="Sakkal Majalla" panose="02000000000000000000" pitchFamily="2" charset="-78"/>
              </a:rPr>
              <a:t>بناء سيارات وطائرات مسيّرة وروبوتات وإنسان آلي يعملون من دون تدخل بشري</a:t>
            </a:r>
          </a:p>
        </p:txBody>
      </p:sp>
      <p:sp>
        <p:nvSpPr>
          <p:cNvPr id="106" name="object 29">
            <a:extLst>
              <a:ext uri="{FF2B5EF4-FFF2-40B4-BE49-F238E27FC236}">
                <a16:creationId xmlns:a16="http://schemas.microsoft.com/office/drawing/2014/main" id="{4E1D88E2-15A2-C81A-500C-D6D8C5C29404}"/>
              </a:ext>
            </a:extLst>
          </p:cNvPr>
          <p:cNvSpPr txBox="1"/>
          <p:nvPr/>
        </p:nvSpPr>
        <p:spPr>
          <a:xfrm flipH="1">
            <a:off x="336045" y="1892524"/>
            <a:ext cx="1490777" cy="490289"/>
          </a:xfrm>
          <a:prstGeom prst="rect">
            <a:avLst/>
          </a:prstGeom>
        </p:spPr>
        <p:txBody>
          <a:bodyPr vert="horz" wrap="square" lIns="0" tIns="5487" rIns="0" bIns="0" rtlCol="0">
            <a:spAutoFit/>
          </a:bodyPr>
          <a:lstStyle/>
          <a:p>
            <a:pPr marL="5776" marR="2310" indent="88661" algn="ctr">
              <a:spcBef>
                <a:spcPts val="43"/>
              </a:spcBef>
            </a:pPr>
            <a:r>
              <a:rPr lang="ar-sa" sz="1050">
                <a:latin typeface="Sakkal Majalla" panose="02000000000000000000" pitchFamily="2" charset="-78"/>
                <a:cs typeface="Sakkal Majalla" panose="02000000000000000000" pitchFamily="2" charset="-78"/>
              </a:rPr>
              <a:t>تصميم مواد مبتكرة تقود مستقبل التكنولوجيا المتقدمة والتقنية الخضراء</a:t>
            </a:r>
          </a:p>
          <a:p>
            <a:pPr marL="5776" marR="2310" indent="88661" algn="ctr">
              <a:spcBef>
                <a:spcPts val="43"/>
              </a:spcBef>
            </a:pPr>
            <a:endParaRPr lang="ar-sa" sz="105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07" name="object 30">
            <a:extLst>
              <a:ext uri="{FF2B5EF4-FFF2-40B4-BE49-F238E27FC236}">
                <a16:creationId xmlns:a16="http://schemas.microsoft.com/office/drawing/2014/main" id="{10534E2B-E250-77EC-CA87-7706B4246F2B}"/>
              </a:ext>
            </a:extLst>
          </p:cNvPr>
          <p:cNvSpPr/>
          <p:nvPr/>
        </p:nvSpPr>
        <p:spPr>
          <a:xfrm flipH="1">
            <a:off x="8326832" y="1220124"/>
            <a:ext cx="474785" cy="474207"/>
          </a:xfrm>
          <a:custGeom>
            <a:avLst/>
            <a:gdLst/>
            <a:ahLst/>
            <a:cxnLst/>
            <a:rect l="l" t="t" r="r" b="b"/>
            <a:pathLst>
              <a:path w="1043939" h="1042670">
                <a:moveTo>
                  <a:pt x="572452" y="537591"/>
                </a:moveTo>
                <a:lnTo>
                  <a:pt x="471424" y="537591"/>
                </a:lnTo>
                <a:lnTo>
                  <a:pt x="471424" y="571271"/>
                </a:lnTo>
                <a:lnTo>
                  <a:pt x="572452" y="571271"/>
                </a:lnTo>
                <a:lnTo>
                  <a:pt x="572452" y="537591"/>
                </a:lnTo>
                <a:close/>
              </a:path>
              <a:path w="1043939" h="1042670">
                <a:moveTo>
                  <a:pt x="572452" y="470242"/>
                </a:moveTo>
                <a:lnTo>
                  <a:pt x="471424" y="470242"/>
                </a:lnTo>
                <a:lnTo>
                  <a:pt x="471424" y="503923"/>
                </a:lnTo>
                <a:lnTo>
                  <a:pt x="572452" y="503923"/>
                </a:lnTo>
                <a:lnTo>
                  <a:pt x="572452" y="470242"/>
                </a:lnTo>
                <a:close/>
              </a:path>
              <a:path w="1043939" h="1042670">
                <a:moveTo>
                  <a:pt x="707148" y="436575"/>
                </a:moveTo>
                <a:lnTo>
                  <a:pt x="639800" y="436575"/>
                </a:lnTo>
                <a:lnTo>
                  <a:pt x="639800" y="419735"/>
                </a:lnTo>
                <a:lnTo>
                  <a:pt x="639800" y="410438"/>
                </a:lnTo>
                <a:lnTo>
                  <a:pt x="632256" y="402907"/>
                </a:lnTo>
                <a:lnTo>
                  <a:pt x="606120" y="402907"/>
                </a:lnTo>
                <a:lnTo>
                  <a:pt x="606120" y="369227"/>
                </a:lnTo>
                <a:lnTo>
                  <a:pt x="572452" y="369227"/>
                </a:lnTo>
                <a:lnTo>
                  <a:pt x="572452" y="402907"/>
                </a:lnTo>
                <a:lnTo>
                  <a:pt x="538772" y="402907"/>
                </a:lnTo>
                <a:lnTo>
                  <a:pt x="538772" y="369227"/>
                </a:lnTo>
                <a:lnTo>
                  <a:pt x="505104" y="369227"/>
                </a:lnTo>
                <a:lnTo>
                  <a:pt x="505104" y="402907"/>
                </a:lnTo>
                <a:lnTo>
                  <a:pt x="471424" y="402907"/>
                </a:lnTo>
                <a:lnTo>
                  <a:pt x="471424" y="369227"/>
                </a:lnTo>
                <a:lnTo>
                  <a:pt x="437756" y="369227"/>
                </a:lnTo>
                <a:lnTo>
                  <a:pt x="437756" y="402907"/>
                </a:lnTo>
                <a:lnTo>
                  <a:pt x="411619" y="402907"/>
                </a:lnTo>
                <a:lnTo>
                  <a:pt x="404075" y="410438"/>
                </a:lnTo>
                <a:lnTo>
                  <a:pt x="404075" y="436575"/>
                </a:lnTo>
                <a:lnTo>
                  <a:pt x="336740" y="436575"/>
                </a:lnTo>
                <a:lnTo>
                  <a:pt x="336740" y="470255"/>
                </a:lnTo>
                <a:lnTo>
                  <a:pt x="404075" y="470255"/>
                </a:lnTo>
                <a:lnTo>
                  <a:pt x="404075" y="503910"/>
                </a:lnTo>
                <a:lnTo>
                  <a:pt x="336740" y="503910"/>
                </a:lnTo>
                <a:lnTo>
                  <a:pt x="336740" y="537591"/>
                </a:lnTo>
                <a:lnTo>
                  <a:pt x="404075" y="537591"/>
                </a:lnTo>
                <a:lnTo>
                  <a:pt x="404075" y="571258"/>
                </a:lnTo>
                <a:lnTo>
                  <a:pt x="336740" y="571258"/>
                </a:lnTo>
                <a:lnTo>
                  <a:pt x="336740" y="604939"/>
                </a:lnTo>
                <a:lnTo>
                  <a:pt x="404075" y="604939"/>
                </a:lnTo>
                <a:lnTo>
                  <a:pt x="404075" y="631075"/>
                </a:lnTo>
                <a:lnTo>
                  <a:pt x="411619" y="638606"/>
                </a:lnTo>
                <a:lnTo>
                  <a:pt x="437756" y="638606"/>
                </a:lnTo>
                <a:lnTo>
                  <a:pt x="437756" y="672274"/>
                </a:lnTo>
                <a:lnTo>
                  <a:pt x="471424" y="672274"/>
                </a:lnTo>
                <a:lnTo>
                  <a:pt x="471424" y="638606"/>
                </a:lnTo>
                <a:lnTo>
                  <a:pt x="505104" y="638606"/>
                </a:lnTo>
                <a:lnTo>
                  <a:pt x="505104" y="672274"/>
                </a:lnTo>
                <a:lnTo>
                  <a:pt x="538772" y="672274"/>
                </a:lnTo>
                <a:lnTo>
                  <a:pt x="538772" y="638606"/>
                </a:lnTo>
                <a:lnTo>
                  <a:pt x="572452" y="638606"/>
                </a:lnTo>
                <a:lnTo>
                  <a:pt x="572452" y="672274"/>
                </a:lnTo>
                <a:lnTo>
                  <a:pt x="606120" y="672274"/>
                </a:lnTo>
                <a:lnTo>
                  <a:pt x="606120" y="638606"/>
                </a:lnTo>
                <a:lnTo>
                  <a:pt x="632256" y="638606"/>
                </a:lnTo>
                <a:lnTo>
                  <a:pt x="639800" y="631075"/>
                </a:lnTo>
                <a:lnTo>
                  <a:pt x="639800" y="571258"/>
                </a:lnTo>
                <a:lnTo>
                  <a:pt x="606120" y="571258"/>
                </a:lnTo>
                <a:lnTo>
                  <a:pt x="606120" y="604939"/>
                </a:lnTo>
                <a:lnTo>
                  <a:pt x="437756" y="604939"/>
                </a:lnTo>
                <a:lnTo>
                  <a:pt x="437756" y="436575"/>
                </a:lnTo>
                <a:lnTo>
                  <a:pt x="606120" y="436575"/>
                </a:lnTo>
                <a:lnTo>
                  <a:pt x="606120" y="537591"/>
                </a:lnTo>
                <a:lnTo>
                  <a:pt x="707148" y="537591"/>
                </a:lnTo>
                <a:lnTo>
                  <a:pt x="707148" y="503910"/>
                </a:lnTo>
                <a:lnTo>
                  <a:pt x="639800" y="503910"/>
                </a:lnTo>
                <a:lnTo>
                  <a:pt x="639800" y="470255"/>
                </a:lnTo>
                <a:lnTo>
                  <a:pt x="707148" y="470255"/>
                </a:lnTo>
                <a:lnTo>
                  <a:pt x="707148" y="436575"/>
                </a:lnTo>
                <a:close/>
              </a:path>
              <a:path w="1043939" h="1042670">
                <a:moveTo>
                  <a:pt x="1043876" y="521970"/>
                </a:moveTo>
                <a:lnTo>
                  <a:pt x="1037615" y="486410"/>
                </a:lnTo>
                <a:lnTo>
                  <a:pt x="1019124" y="453390"/>
                </a:lnTo>
                <a:lnTo>
                  <a:pt x="1010208" y="444042"/>
                </a:lnTo>
                <a:lnTo>
                  <a:pt x="1010208" y="521970"/>
                </a:lnTo>
                <a:lnTo>
                  <a:pt x="1001610" y="554990"/>
                </a:lnTo>
                <a:lnTo>
                  <a:pt x="976515" y="586740"/>
                </a:lnTo>
                <a:lnTo>
                  <a:pt x="935977" y="617220"/>
                </a:lnTo>
                <a:lnTo>
                  <a:pt x="888987" y="641134"/>
                </a:lnTo>
                <a:lnTo>
                  <a:pt x="888987" y="807720"/>
                </a:lnTo>
                <a:lnTo>
                  <a:pt x="888860" y="814070"/>
                </a:lnTo>
                <a:lnTo>
                  <a:pt x="888784" y="817880"/>
                </a:lnTo>
                <a:lnTo>
                  <a:pt x="884859" y="835660"/>
                </a:lnTo>
                <a:lnTo>
                  <a:pt x="877582" y="852170"/>
                </a:lnTo>
                <a:lnTo>
                  <a:pt x="867092" y="866140"/>
                </a:lnTo>
                <a:lnTo>
                  <a:pt x="837501" y="883920"/>
                </a:lnTo>
                <a:lnTo>
                  <a:pt x="796658" y="889000"/>
                </a:lnTo>
                <a:lnTo>
                  <a:pt x="746366" y="881380"/>
                </a:lnTo>
                <a:lnTo>
                  <a:pt x="688454" y="862330"/>
                </a:lnTo>
                <a:lnTo>
                  <a:pt x="693013" y="848360"/>
                </a:lnTo>
                <a:lnTo>
                  <a:pt x="699630" y="828040"/>
                </a:lnTo>
                <a:lnTo>
                  <a:pt x="709282" y="793750"/>
                </a:lnTo>
                <a:lnTo>
                  <a:pt x="717410" y="758190"/>
                </a:lnTo>
                <a:lnTo>
                  <a:pt x="717651" y="756920"/>
                </a:lnTo>
                <a:lnTo>
                  <a:pt x="723988" y="723900"/>
                </a:lnTo>
                <a:lnTo>
                  <a:pt x="794131" y="708660"/>
                </a:lnTo>
                <a:lnTo>
                  <a:pt x="862711" y="688340"/>
                </a:lnTo>
                <a:lnTo>
                  <a:pt x="873264" y="715010"/>
                </a:lnTo>
                <a:lnTo>
                  <a:pt x="881214" y="742950"/>
                </a:lnTo>
                <a:lnTo>
                  <a:pt x="886523" y="770890"/>
                </a:lnTo>
                <a:lnTo>
                  <a:pt x="888123" y="788670"/>
                </a:lnTo>
                <a:lnTo>
                  <a:pt x="888238" y="789940"/>
                </a:lnTo>
                <a:lnTo>
                  <a:pt x="888923" y="797560"/>
                </a:lnTo>
                <a:lnTo>
                  <a:pt x="888987" y="807720"/>
                </a:lnTo>
                <a:lnTo>
                  <a:pt x="888987" y="641134"/>
                </a:lnTo>
                <a:lnTo>
                  <a:pt x="881075" y="645160"/>
                </a:lnTo>
                <a:lnTo>
                  <a:pt x="864895" y="613410"/>
                </a:lnTo>
                <a:lnTo>
                  <a:pt x="849579" y="585724"/>
                </a:lnTo>
                <a:lnTo>
                  <a:pt x="849579" y="656590"/>
                </a:lnTo>
                <a:lnTo>
                  <a:pt x="804456" y="671830"/>
                </a:lnTo>
                <a:lnTo>
                  <a:pt x="781570" y="676910"/>
                </a:lnTo>
                <a:lnTo>
                  <a:pt x="758494" y="683260"/>
                </a:lnTo>
                <a:lnTo>
                  <a:pt x="759853" y="680720"/>
                </a:lnTo>
                <a:lnTo>
                  <a:pt x="762203" y="676910"/>
                </a:lnTo>
                <a:lnTo>
                  <a:pt x="766241" y="670560"/>
                </a:lnTo>
                <a:lnTo>
                  <a:pt x="769937" y="664210"/>
                </a:lnTo>
                <a:lnTo>
                  <a:pt x="771296" y="661670"/>
                </a:lnTo>
                <a:lnTo>
                  <a:pt x="774319" y="656590"/>
                </a:lnTo>
                <a:lnTo>
                  <a:pt x="776338" y="652780"/>
                </a:lnTo>
                <a:lnTo>
                  <a:pt x="779373" y="646430"/>
                </a:lnTo>
                <a:lnTo>
                  <a:pt x="780732" y="643890"/>
                </a:lnTo>
                <a:lnTo>
                  <a:pt x="783412" y="637540"/>
                </a:lnTo>
                <a:lnTo>
                  <a:pt x="785101" y="633730"/>
                </a:lnTo>
                <a:lnTo>
                  <a:pt x="786447" y="631190"/>
                </a:lnTo>
                <a:lnTo>
                  <a:pt x="789978" y="621030"/>
                </a:lnTo>
                <a:lnTo>
                  <a:pt x="791159" y="618490"/>
                </a:lnTo>
                <a:lnTo>
                  <a:pt x="792505" y="614680"/>
                </a:lnTo>
                <a:lnTo>
                  <a:pt x="794524" y="608330"/>
                </a:lnTo>
                <a:lnTo>
                  <a:pt x="795540" y="605790"/>
                </a:lnTo>
                <a:lnTo>
                  <a:pt x="797217" y="599440"/>
                </a:lnTo>
                <a:lnTo>
                  <a:pt x="798398" y="595630"/>
                </a:lnTo>
                <a:lnTo>
                  <a:pt x="800087" y="588010"/>
                </a:lnTo>
                <a:lnTo>
                  <a:pt x="800760" y="585470"/>
                </a:lnTo>
                <a:lnTo>
                  <a:pt x="802449" y="577850"/>
                </a:lnTo>
                <a:lnTo>
                  <a:pt x="802779" y="576580"/>
                </a:lnTo>
                <a:lnTo>
                  <a:pt x="803109" y="574040"/>
                </a:lnTo>
                <a:lnTo>
                  <a:pt x="815771" y="594360"/>
                </a:lnTo>
                <a:lnTo>
                  <a:pt x="827735" y="614680"/>
                </a:lnTo>
                <a:lnTo>
                  <a:pt x="849579" y="656590"/>
                </a:lnTo>
                <a:lnTo>
                  <a:pt x="849579" y="585724"/>
                </a:lnTo>
                <a:lnTo>
                  <a:pt x="847331" y="581660"/>
                </a:lnTo>
                <a:lnTo>
                  <a:pt x="842606" y="574040"/>
                </a:lnTo>
                <a:lnTo>
                  <a:pt x="828408" y="551180"/>
                </a:lnTo>
                <a:lnTo>
                  <a:pt x="808164" y="521970"/>
                </a:lnTo>
                <a:lnTo>
                  <a:pt x="828395" y="491490"/>
                </a:lnTo>
                <a:lnTo>
                  <a:pt x="842581" y="468630"/>
                </a:lnTo>
                <a:lnTo>
                  <a:pt x="847305" y="461010"/>
                </a:lnTo>
                <a:lnTo>
                  <a:pt x="864882" y="430530"/>
                </a:lnTo>
                <a:lnTo>
                  <a:pt x="881075" y="397510"/>
                </a:lnTo>
                <a:lnTo>
                  <a:pt x="935977" y="425450"/>
                </a:lnTo>
                <a:lnTo>
                  <a:pt x="976515" y="455930"/>
                </a:lnTo>
                <a:lnTo>
                  <a:pt x="1001610" y="487680"/>
                </a:lnTo>
                <a:lnTo>
                  <a:pt x="1010208" y="521970"/>
                </a:lnTo>
                <a:lnTo>
                  <a:pt x="1010208" y="444042"/>
                </a:lnTo>
                <a:lnTo>
                  <a:pt x="988860" y="421640"/>
                </a:lnTo>
                <a:lnTo>
                  <a:pt x="954519" y="397510"/>
                </a:lnTo>
                <a:lnTo>
                  <a:pt x="947293" y="392430"/>
                </a:lnTo>
                <a:lnTo>
                  <a:pt x="894880" y="367030"/>
                </a:lnTo>
                <a:lnTo>
                  <a:pt x="897775" y="359410"/>
                </a:lnTo>
                <a:lnTo>
                  <a:pt x="899718" y="354330"/>
                </a:lnTo>
                <a:lnTo>
                  <a:pt x="906475" y="336550"/>
                </a:lnTo>
                <a:lnTo>
                  <a:pt x="915149" y="306070"/>
                </a:lnTo>
                <a:lnTo>
                  <a:pt x="920838" y="274320"/>
                </a:lnTo>
                <a:lnTo>
                  <a:pt x="922540" y="254000"/>
                </a:lnTo>
                <a:lnTo>
                  <a:pt x="922642" y="252730"/>
                </a:lnTo>
                <a:lnTo>
                  <a:pt x="922756" y="251460"/>
                </a:lnTo>
                <a:lnTo>
                  <a:pt x="922858" y="250190"/>
                </a:lnTo>
                <a:lnTo>
                  <a:pt x="922959" y="248920"/>
                </a:lnTo>
                <a:lnTo>
                  <a:pt x="923074" y="247650"/>
                </a:lnTo>
                <a:lnTo>
                  <a:pt x="923175" y="246380"/>
                </a:lnTo>
                <a:lnTo>
                  <a:pt x="923290" y="245110"/>
                </a:lnTo>
                <a:lnTo>
                  <a:pt x="923328" y="238760"/>
                </a:lnTo>
                <a:lnTo>
                  <a:pt x="922401" y="218440"/>
                </a:lnTo>
                <a:lnTo>
                  <a:pt x="916457" y="194310"/>
                </a:lnTo>
                <a:lnTo>
                  <a:pt x="905903" y="171450"/>
                </a:lnTo>
                <a:lnTo>
                  <a:pt x="891997" y="153670"/>
                </a:lnTo>
                <a:lnTo>
                  <a:pt x="891006" y="152400"/>
                </a:lnTo>
                <a:lnTo>
                  <a:pt x="889596" y="151422"/>
                </a:lnTo>
                <a:lnTo>
                  <a:pt x="889596" y="234950"/>
                </a:lnTo>
                <a:lnTo>
                  <a:pt x="889482" y="246380"/>
                </a:lnTo>
                <a:lnTo>
                  <a:pt x="887196" y="271780"/>
                </a:lnTo>
                <a:lnTo>
                  <a:pt x="881888" y="299720"/>
                </a:lnTo>
                <a:lnTo>
                  <a:pt x="873937" y="327660"/>
                </a:lnTo>
                <a:lnTo>
                  <a:pt x="863396" y="354330"/>
                </a:lnTo>
                <a:lnTo>
                  <a:pt x="849579" y="350266"/>
                </a:lnTo>
                <a:lnTo>
                  <a:pt x="849579" y="386080"/>
                </a:lnTo>
                <a:lnTo>
                  <a:pt x="827735" y="427990"/>
                </a:lnTo>
                <a:lnTo>
                  <a:pt x="815771" y="448310"/>
                </a:lnTo>
                <a:lnTo>
                  <a:pt x="803109" y="468630"/>
                </a:lnTo>
                <a:lnTo>
                  <a:pt x="803109" y="466090"/>
                </a:lnTo>
                <a:lnTo>
                  <a:pt x="802106" y="463550"/>
                </a:lnTo>
                <a:lnTo>
                  <a:pt x="801090" y="458470"/>
                </a:lnTo>
                <a:lnTo>
                  <a:pt x="798398" y="447040"/>
                </a:lnTo>
                <a:lnTo>
                  <a:pt x="797382" y="444500"/>
                </a:lnTo>
                <a:lnTo>
                  <a:pt x="794524" y="434340"/>
                </a:lnTo>
                <a:lnTo>
                  <a:pt x="792505" y="427990"/>
                </a:lnTo>
                <a:lnTo>
                  <a:pt x="791159" y="424180"/>
                </a:lnTo>
                <a:lnTo>
                  <a:pt x="789978" y="421640"/>
                </a:lnTo>
                <a:lnTo>
                  <a:pt x="786447" y="411480"/>
                </a:lnTo>
                <a:lnTo>
                  <a:pt x="785101" y="408940"/>
                </a:lnTo>
                <a:lnTo>
                  <a:pt x="780554" y="398780"/>
                </a:lnTo>
                <a:lnTo>
                  <a:pt x="779373" y="396240"/>
                </a:lnTo>
                <a:lnTo>
                  <a:pt x="776338" y="389890"/>
                </a:lnTo>
                <a:lnTo>
                  <a:pt x="774496" y="386765"/>
                </a:lnTo>
                <a:lnTo>
                  <a:pt x="774496" y="516890"/>
                </a:lnTo>
                <a:lnTo>
                  <a:pt x="774496" y="527050"/>
                </a:lnTo>
                <a:lnTo>
                  <a:pt x="769289" y="572770"/>
                </a:lnTo>
                <a:lnTo>
                  <a:pt x="755561" y="618490"/>
                </a:lnTo>
                <a:lnTo>
                  <a:pt x="733793" y="659130"/>
                </a:lnTo>
                <a:lnTo>
                  <a:pt x="704443" y="695960"/>
                </a:lnTo>
                <a:lnTo>
                  <a:pt x="683399" y="714375"/>
                </a:lnTo>
                <a:lnTo>
                  <a:pt x="683399" y="756920"/>
                </a:lnTo>
                <a:lnTo>
                  <a:pt x="678040" y="779780"/>
                </a:lnTo>
                <a:lnTo>
                  <a:pt x="671957" y="802640"/>
                </a:lnTo>
                <a:lnTo>
                  <a:pt x="665149" y="825500"/>
                </a:lnTo>
                <a:lnTo>
                  <a:pt x="657644" y="848360"/>
                </a:lnTo>
                <a:lnTo>
                  <a:pt x="645185" y="842403"/>
                </a:lnTo>
                <a:lnTo>
                  <a:pt x="645185" y="880110"/>
                </a:lnTo>
                <a:lnTo>
                  <a:pt x="617855" y="935990"/>
                </a:lnTo>
                <a:lnTo>
                  <a:pt x="587540" y="975360"/>
                </a:lnTo>
                <a:lnTo>
                  <a:pt x="555231" y="1000760"/>
                </a:lnTo>
                <a:lnTo>
                  <a:pt x="521944" y="1009650"/>
                </a:lnTo>
                <a:lnTo>
                  <a:pt x="488632" y="1000760"/>
                </a:lnTo>
                <a:lnTo>
                  <a:pt x="456272" y="975360"/>
                </a:lnTo>
                <a:lnTo>
                  <a:pt x="425805" y="935990"/>
                </a:lnTo>
                <a:lnTo>
                  <a:pt x="405091" y="894080"/>
                </a:lnTo>
                <a:lnTo>
                  <a:pt x="402577" y="889000"/>
                </a:lnTo>
                <a:lnTo>
                  <a:pt x="398183" y="880110"/>
                </a:lnTo>
                <a:lnTo>
                  <a:pt x="430301" y="864870"/>
                </a:lnTo>
                <a:lnTo>
                  <a:pt x="457187" y="849630"/>
                </a:lnTo>
                <a:lnTo>
                  <a:pt x="461657" y="847090"/>
                </a:lnTo>
                <a:lnTo>
                  <a:pt x="492226" y="828040"/>
                </a:lnTo>
                <a:lnTo>
                  <a:pt x="521944" y="807720"/>
                </a:lnTo>
                <a:lnTo>
                  <a:pt x="551535" y="828040"/>
                </a:lnTo>
                <a:lnTo>
                  <a:pt x="581964" y="847090"/>
                </a:lnTo>
                <a:lnTo>
                  <a:pt x="613194" y="864870"/>
                </a:lnTo>
                <a:lnTo>
                  <a:pt x="645185" y="880110"/>
                </a:lnTo>
                <a:lnTo>
                  <a:pt x="645185" y="842403"/>
                </a:lnTo>
                <a:lnTo>
                  <a:pt x="636397" y="838200"/>
                </a:lnTo>
                <a:lnTo>
                  <a:pt x="615530" y="826770"/>
                </a:lnTo>
                <a:lnTo>
                  <a:pt x="595045" y="814070"/>
                </a:lnTo>
                <a:lnTo>
                  <a:pt x="585012" y="807720"/>
                </a:lnTo>
                <a:lnTo>
                  <a:pt x="574979" y="801370"/>
                </a:lnTo>
                <a:lnTo>
                  <a:pt x="577494" y="801370"/>
                </a:lnTo>
                <a:lnTo>
                  <a:pt x="579856" y="800100"/>
                </a:lnTo>
                <a:lnTo>
                  <a:pt x="582383" y="800100"/>
                </a:lnTo>
                <a:lnTo>
                  <a:pt x="602589" y="795020"/>
                </a:lnTo>
                <a:lnTo>
                  <a:pt x="612025" y="792480"/>
                </a:lnTo>
                <a:lnTo>
                  <a:pt x="615543" y="791210"/>
                </a:lnTo>
                <a:lnTo>
                  <a:pt x="618756" y="789940"/>
                </a:lnTo>
                <a:lnTo>
                  <a:pt x="622109" y="788670"/>
                </a:lnTo>
                <a:lnTo>
                  <a:pt x="631380" y="784860"/>
                </a:lnTo>
                <a:lnTo>
                  <a:pt x="641134" y="781050"/>
                </a:lnTo>
                <a:lnTo>
                  <a:pt x="650074" y="775970"/>
                </a:lnTo>
                <a:lnTo>
                  <a:pt x="654862" y="773430"/>
                </a:lnTo>
                <a:lnTo>
                  <a:pt x="659663" y="770890"/>
                </a:lnTo>
                <a:lnTo>
                  <a:pt x="668248" y="767080"/>
                </a:lnTo>
                <a:lnTo>
                  <a:pt x="677341" y="760730"/>
                </a:lnTo>
                <a:lnTo>
                  <a:pt x="683399" y="756920"/>
                </a:lnTo>
                <a:lnTo>
                  <a:pt x="683399" y="714375"/>
                </a:lnTo>
                <a:lnTo>
                  <a:pt x="660095" y="732790"/>
                </a:lnTo>
                <a:lnTo>
                  <a:pt x="618667" y="754380"/>
                </a:lnTo>
                <a:lnTo>
                  <a:pt x="573925" y="768350"/>
                </a:lnTo>
                <a:lnTo>
                  <a:pt x="526986" y="773430"/>
                </a:lnTo>
                <a:lnTo>
                  <a:pt x="516890" y="773430"/>
                </a:lnTo>
                <a:lnTo>
                  <a:pt x="470014" y="768350"/>
                </a:lnTo>
                <a:lnTo>
                  <a:pt x="468909" y="768007"/>
                </a:lnTo>
                <a:lnTo>
                  <a:pt x="468909" y="802640"/>
                </a:lnTo>
                <a:lnTo>
                  <a:pt x="448830" y="815340"/>
                </a:lnTo>
                <a:lnTo>
                  <a:pt x="428345" y="826770"/>
                </a:lnTo>
                <a:lnTo>
                  <a:pt x="386232" y="849630"/>
                </a:lnTo>
                <a:lnTo>
                  <a:pt x="378714" y="826770"/>
                </a:lnTo>
                <a:lnTo>
                  <a:pt x="371906" y="803910"/>
                </a:lnTo>
                <a:lnTo>
                  <a:pt x="365823" y="781050"/>
                </a:lnTo>
                <a:lnTo>
                  <a:pt x="360476" y="758190"/>
                </a:lnTo>
                <a:lnTo>
                  <a:pt x="366534" y="762000"/>
                </a:lnTo>
                <a:lnTo>
                  <a:pt x="375627" y="767080"/>
                </a:lnTo>
                <a:lnTo>
                  <a:pt x="384213" y="772160"/>
                </a:lnTo>
                <a:lnTo>
                  <a:pt x="393801" y="777240"/>
                </a:lnTo>
                <a:lnTo>
                  <a:pt x="402742" y="781050"/>
                </a:lnTo>
                <a:lnTo>
                  <a:pt x="412496" y="786130"/>
                </a:lnTo>
                <a:lnTo>
                  <a:pt x="421767" y="789940"/>
                </a:lnTo>
                <a:lnTo>
                  <a:pt x="425119" y="791210"/>
                </a:lnTo>
                <a:lnTo>
                  <a:pt x="428332" y="792480"/>
                </a:lnTo>
                <a:lnTo>
                  <a:pt x="431863" y="792480"/>
                </a:lnTo>
                <a:lnTo>
                  <a:pt x="441286" y="796290"/>
                </a:lnTo>
                <a:lnTo>
                  <a:pt x="461492" y="801370"/>
                </a:lnTo>
                <a:lnTo>
                  <a:pt x="464019" y="801370"/>
                </a:lnTo>
                <a:lnTo>
                  <a:pt x="466382" y="802640"/>
                </a:lnTo>
                <a:lnTo>
                  <a:pt x="468909" y="802640"/>
                </a:lnTo>
                <a:lnTo>
                  <a:pt x="468909" y="768007"/>
                </a:lnTo>
                <a:lnTo>
                  <a:pt x="437502" y="758190"/>
                </a:lnTo>
                <a:lnTo>
                  <a:pt x="425310" y="754380"/>
                </a:lnTo>
                <a:lnTo>
                  <a:pt x="383933" y="732790"/>
                </a:lnTo>
                <a:lnTo>
                  <a:pt x="355422" y="710247"/>
                </a:lnTo>
                <a:lnTo>
                  <a:pt x="355422" y="862330"/>
                </a:lnTo>
                <a:lnTo>
                  <a:pt x="297510" y="881380"/>
                </a:lnTo>
                <a:lnTo>
                  <a:pt x="247218" y="889000"/>
                </a:lnTo>
                <a:lnTo>
                  <a:pt x="206375" y="883920"/>
                </a:lnTo>
                <a:lnTo>
                  <a:pt x="176784" y="866140"/>
                </a:lnTo>
                <a:lnTo>
                  <a:pt x="166116" y="852170"/>
                </a:lnTo>
                <a:lnTo>
                  <a:pt x="158661" y="835660"/>
                </a:lnTo>
                <a:lnTo>
                  <a:pt x="154571" y="817880"/>
                </a:lnTo>
                <a:lnTo>
                  <a:pt x="154279" y="807720"/>
                </a:lnTo>
                <a:lnTo>
                  <a:pt x="154393" y="796290"/>
                </a:lnTo>
                <a:lnTo>
                  <a:pt x="156451" y="773430"/>
                </a:lnTo>
                <a:lnTo>
                  <a:pt x="156565" y="772160"/>
                </a:lnTo>
                <a:lnTo>
                  <a:pt x="156679" y="770890"/>
                </a:lnTo>
                <a:lnTo>
                  <a:pt x="161988" y="742950"/>
                </a:lnTo>
                <a:lnTo>
                  <a:pt x="169938" y="715010"/>
                </a:lnTo>
                <a:lnTo>
                  <a:pt x="180479" y="688340"/>
                </a:lnTo>
                <a:lnTo>
                  <a:pt x="249402" y="708660"/>
                </a:lnTo>
                <a:lnTo>
                  <a:pt x="319887" y="723900"/>
                </a:lnTo>
                <a:lnTo>
                  <a:pt x="326466" y="758190"/>
                </a:lnTo>
                <a:lnTo>
                  <a:pt x="334594" y="793750"/>
                </a:lnTo>
                <a:lnTo>
                  <a:pt x="344246" y="828040"/>
                </a:lnTo>
                <a:lnTo>
                  <a:pt x="355422" y="862330"/>
                </a:lnTo>
                <a:lnTo>
                  <a:pt x="355422" y="710247"/>
                </a:lnTo>
                <a:lnTo>
                  <a:pt x="347002" y="703580"/>
                </a:lnTo>
                <a:lnTo>
                  <a:pt x="339598" y="695960"/>
                </a:lnTo>
                <a:lnTo>
                  <a:pt x="333514" y="688340"/>
                </a:lnTo>
                <a:lnTo>
                  <a:pt x="329450" y="683260"/>
                </a:lnTo>
                <a:lnTo>
                  <a:pt x="310184" y="659130"/>
                </a:lnTo>
                <a:lnTo>
                  <a:pt x="288353" y="618490"/>
                </a:lnTo>
                <a:lnTo>
                  <a:pt x="286219" y="611403"/>
                </a:lnTo>
                <a:lnTo>
                  <a:pt x="286219" y="683260"/>
                </a:lnTo>
                <a:lnTo>
                  <a:pt x="263156" y="676910"/>
                </a:lnTo>
                <a:lnTo>
                  <a:pt x="240271" y="671830"/>
                </a:lnTo>
                <a:lnTo>
                  <a:pt x="195135" y="656590"/>
                </a:lnTo>
                <a:lnTo>
                  <a:pt x="201079" y="645160"/>
                </a:lnTo>
                <a:lnTo>
                  <a:pt x="216979" y="614680"/>
                </a:lnTo>
                <a:lnTo>
                  <a:pt x="228955" y="594360"/>
                </a:lnTo>
                <a:lnTo>
                  <a:pt x="241604" y="574040"/>
                </a:lnTo>
                <a:lnTo>
                  <a:pt x="241604" y="576580"/>
                </a:lnTo>
                <a:lnTo>
                  <a:pt x="242620" y="579120"/>
                </a:lnTo>
                <a:lnTo>
                  <a:pt x="243624" y="584200"/>
                </a:lnTo>
                <a:lnTo>
                  <a:pt x="246329" y="595630"/>
                </a:lnTo>
                <a:lnTo>
                  <a:pt x="247332" y="598170"/>
                </a:lnTo>
                <a:lnTo>
                  <a:pt x="250190" y="608330"/>
                </a:lnTo>
                <a:lnTo>
                  <a:pt x="252209" y="614680"/>
                </a:lnTo>
                <a:lnTo>
                  <a:pt x="253555" y="618490"/>
                </a:lnTo>
                <a:lnTo>
                  <a:pt x="254736" y="621030"/>
                </a:lnTo>
                <a:lnTo>
                  <a:pt x="258267" y="631190"/>
                </a:lnTo>
                <a:lnTo>
                  <a:pt x="259626" y="633730"/>
                </a:lnTo>
                <a:lnTo>
                  <a:pt x="264172" y="643890"/>
                </a:lnTo>
                <a:lnTo>
                  <a:pt x="265353" y="646430"/>
                </a:lnTo>
                <a:lnTo>
                  <a:pt x="273596" y="661670"/>
                </a:lnTo>
                <a:lnTo>
                  <a:pt x="278307" y="670560"/>
                </a:lnTo>
                <a:lnTo>
                  <a:pt x="280504" y="674370"/>
                </a:lnTo>
                <a:lnTo>
                  <a:pt x="284543" y="679450"/>
                </a:lnTo>
                <a:lnTo>
                  <a:pt x="284035" y="680720"/>
                </a:lnTo>
                <a:lnTo>
                  <a:pt x="286219" y="683260"/>
                </a:lnTo>
                <a:lnTo>
                  <a:pt x="286219" y="611403"/>
                </a:lnTo>
                <a:lnTo>
                  <a:pt x="274980" y="574040"/>
                </a:lnTo>
                <a:lnTo>
                  <a:pt x="274599" y="572770"/>
                </a:lnTo>
                <a:lnTo>
                  <a:pt x="269379" y="527050"/>
                </a:lnTo>
                <a:lnTo>
                  <a:pt x="269379" y="516890"/>
                </a:lnTo>
                <a:lnTo>
                  <a:pt x="274586" y="469900"/>
                </a:lnTo>
                <a:lnTo>
                  <a:pt x="288315" y="424180"/>
                </a:lnTo>
                <a:lnTo>
                  <a:pt x="310083" y="383540"/>
                </a:lnTo>
                <a:lnTo>
                  <a:pt x="333362" y="354330"/>
                </a:lnTo>
                <a:lnTo>
                  <a:pt x="339432" y="346710"/>
                </a:lnTo>
                <a:lnTo>
                  <a:pt x="383781" y="309880"/>
                </a:lnTo>
                <a:lnTo>
                  <a:pt x="425208" y="288290"/>
                </a:lnTo>
                <a:lnTo>
                  <a:pt x="469950" y="274320"/>
                </a:lnTo>
                <a:lnTo>
                  <a:pt x="516890" y="269240"/>
                </a:lnTo>
                <a:lnTo>
                  <a:pt x="526986" y="269240"/>
                </a:lnTo>
                <a:lnTo>
                  <a:pt x="573862" y="274320"/>
                </a:lnTo>
                <a:lnTo>
                  <a:pt x="618566" y="288290"/>
                </a:lnTo>
                <a:lnTo>
                  <a:pt x="659942" y="309880"/>
                </a:lnTo>
                <a:lnTo>
                  <a:pt x="696874" y="339090"/>
                </a:lnTo>
                <a:lnTo>
                  <a:pt x="733691" y="383540"/>
                </a:lnTo>
                <a:lnTo>
                  <a:pt x="755523" y="424180"/>
                </a:lnTo>
                <a:lnTo>
                  <a:pt x="769277" y="469900"/>
                </a:lnTo>
                <a:lnTo>
                  <a:pt x="774496" y="516890"/>
                </a:lnTo>
                <a:lnTo>
                  <a:pt x="774496" y="386765"/>
                </a:lnTo>
                <a:lnTo>
                  <a:pt x="771118" y="381000"/>
                </a:lnTo>
                <a:lnTo>
                  <a:pt x="766406" y="372110"/>
                </a:lnTo>
                <a:lnTo>
                  <a:pt x="764222" y="369570"/>
                </a:lnTo>
                <a:lnTo>
                  <a:pt x="760183" y="363220"/>
                </a:lnTo>
                <a:lnTo>
                  <a:pt x="759853" y="361950"/>
                </a:lnTo>
                <a:lnTo>
                  <a:pt x="758494" y="359410"/>
                </a:lnTo>
                <a:lnTo>
                  <a:pt x="781558" y="365760"/>
                </a:lnTo>
                <a:lnTo>
                  <a:pt x="804443" y="370840"/>
                </a:lnTo>
                <a:lnTo>
                  <a:pt x="849579" y="386080"/>
                </a:lnTo>
                <a:lnTo>
                  <a:pt x="849579" y="350266"/>
                </a:lnTo>
                <a:lnTo>
                  <a:pt x="794473" y="334010"/>
                </a:lnTo>
                <a:lnTo>
                  <a:pt x="723988" y="318770"/>
                </a:lnTo>
                <a:lnTo>
                  <a:pt x="717651" y="285750"/>
                </a:lnTo>
                <a:lnTo>
                  <a:pt x="699630" y="214630"/>
                </a:lnTo>
                <a:lnTo>
                  <a:pt x="688454" y="180340"/>
                </a:lnTo>
                <a:lnTo>
                  <a:pt x="746366" y="161290"/>
                </a:lnTo>
                <a:lnTo>
                  <a:pt x="796658" y="153670"/>
                </a:lnTo>
                <a:lnTo>
                  <a:pt x="837501" y="158750"/>
                </a:lnTo>
                <a:lnTo>
                  <a:pt x="867092" y="176530"/>
                </a:lnTo>
                <a:lnTo>
                  <a:pt x="877747" y="190500"/>
                </a:lnTo>
                <a:lnTo>
                  <a:pt x="885202" y="207010"/>
                </a:lnTo>
                <a:lnTo>
                  <a:pt x="889292" y="224790"/>
                </a:lnTo>
                <a:lnTo>
                  <a:pt x="889596" y="234950"/>
                </a:lnTo>
                <a:lnTo>
                  <a:pt x="889596" y="151422"/>
                </a:lnTo>
                <a:lnTo>
                  <a:pt x="885558" y="148590"/>
                </a:lnTo>
                <a:lnTo>
                  <a:pt x="861936" y="132080"/>
                </a:lnTo>
                <a:lnTo>
                  <a:pt x="825296" y="121920"/>
                </a:lnTo>
                <a:lnTo>
                  <a:pt x="781735" y="120650"/>
                </a:lnTo>
                <a:lnTo>
                  <a:pt x="731913" y="129540"/>
                </a:lnTo>
                <a:lnTo>
                  <a:pt x="683399" y="146227"/>
                </a:lnTo>
                <a:lnTo>
                  <a:pt x="683399" y="285750"/>
                </a:lnTo>
                <a:lnTo>
                  <a:pt x="677341" y="281940"/>
                </a:lnTo>
                <a:lnTo>
                  <a:pt x="668248" y="275590"/>
                </a:lnTo>
                <a:lnTo>
                  <a:pt x="659663" y="271780"/>
                </a:lnTo>
                <a:lnTo>
                  <a:pt x="654862" y="269240"/>
                </a:lnTo>
                <a:lnTo>
                  <a:pt x="650074" y="266700"/>
                </a:lnTo>
                <a:lnTo>
                  <a:pt x="641134" y="261620"/>
                </a:lnTo>
                <a:lnTo>
                  <a:pt x="631380" y="257810"/>
                </a:lnTo>
                <a:lnTo>
                  <a:pt x="622960" y="252730"/>
                </a:lnTo>
                <a:lnTo>
                  <a:pt x="619594" y="252730"/>
                </a:lnTo>
                <a:lnTo>
                  <a:pt x="616394" y="251460"/>
                </a:lnTo>
                <a:lnTo>
                  <a:pt x="612851" y="250190"/>
                </a:lnTo>
                <a:lnTo>
                  <a:pt x="603427" y="246380"/>
                </a:lnTo>
                <a:lnTo>
                  <a:pt x="583222" y="241300"/>
                </a:lnTo>
                <a:lnTo>
                  <a:pt x="579856" y="241300"/>
                </a:lnTo>
                <a:lnTo>
                  <a:pt x="577494" y="240030"/>
                </a:lnTo>
                <a:lnTo>
                  <a:pt x="574979" y="240030"/>
                </a:lnTo>
                <a:lnTo>
                  <a:pt x="583006" y="234950"/>
                </a:lnTo>
                <a:lnTo>
                  <a:pt x="595045" y="227330"/>
                </a:lnTo>
                <a:lnTo>
                  <a:pt x="615530" y="215900"/>
                </a:lnTo>
                <a:lnTo>
                  <a:pt x="636397" y="204470"/>
                </a:lnTo>
                <a:lnTo>
                  <a:pt x="657644" y="194310"/>
                </a:lnTo>
                <a:lnTo>
                  <a:pt x="665187" y="215900"/>
                </a:lnTo>
                <a:lnTo>
                  <a:pt x="671995" y="238760"/>
                </a:lnTo>
                <a:lnTo>
                  <a:pt x="678065" y="262890"/>
                </a:lnTo>
                <a:lnTo>
                  <a:pt x="683399" y="285750"/>
                </a:lnTo>
                <a:lnTo>
                  <a:pt x="683399" y="146227"/>
                </a:lnTo>
                <a:lnTo>
                  <a:pt x="676503" y="148590"/>
                </a:lnTo>
                <a:lnTo>
                  <a:pt x="650570" y="96520"/>
                </a:lnTo>
                <a:lnTo>
                  <a:pt x="645693" y="89446"/>
                </a:lnTo>
                <a:lnTo>
                  <a:pt x="645693" y="162560"/>
                </a:lnTo>
                <a:lnTo>
                  <a:pt x="613587" y="179070"/>
                </a:lnTo>
                <a:lnTo>
                  <a:pt x="582231" y="195580"/>
                </a:lnTo>
                <a:lnTo>
                  <a:pt x="551675" y="214630"/>
                </a:lnTo>
                <a:lnTo>
                  <a:pt x="521944" y="234950"/>
                </a:lnTo>
                <a:lnTo>
                  <a:pt x="492328" y="214630"/>
                </a:lnTo>
                <a:lnTo>
                  <a:pt x="468909" y="199974"/>
                </a:lnTo>
                <a:lnTo>
                  <a:pt x="468909" y="241300"/>
                </a:lnTo>
                <a:lnTo>
                  <a:pt x="466382" y="241300"/>
                </a:lnTo>
                <a:lnTo>
                  <a:pt x="464019" y="242570"/>
                </a:lnTo>
                <a:lnTo>
                  <a:pt x="461492" y="242570"/>
                </a:lnTo>
                <a:lnTo>
                  <a:pt x="441286" y="247650"/>
                </a:lnTo>
                <a:lnTo>
                  <a:pt x="431863" y="250190"/>
                </a:lnTo>
                <a:lnTo>
                  <a:pt x="428332" y="251460"/>
                </a:lnTo>
                <a:lnTo>
                  <a:pt x="425119" y="252730"/>
                </a:lnTo>
                <a:lnTo>
                  <a:pt x="421767" y="254000"/>
                </a:lnTo>
                <a:lnTo>
                  <a:pt x="412496" y="257810"/>
                </a:lnTo>
                <a:lnTo>
                  <a:pt x="402742" y="261620"/>
                </a:lnTo>
                <a:lnTo>
                  <a:pt x="390613" y="267970"/>
                </a:lnTo>
                <a:lnTo>
                  <a:pt x="387413" y="269240"/>
                </a:lnTo>
                <a:lnTo>
                  <a:pt x="384213" y="271780"/>
                </a:lnTo>
                <a:lnTo>
                  <a:pt x="375627" y="275590"/>
                </a:lnTo>
                <a:lnTo>
                  <a:pt x="366534" y="281940"/>
                </a:lnTo>
                <a:lnTo>
                  <a:pt x="360476" y="285750"/>
                </a:lnTo>
                <a:lnTo>
                  <a:pt x="365836" y="262890"/>
                </a:lnTo>
                <a:lnTo>
                  <a:pt x="371919" y="240030"/>
                </a:lnTo>
                <a:lnTo>
                  <a:pt x="378726" y="217170"/>
                </a:lnTo>
                <a:lnTo>
                  <a:pt x="386232" y="194310"/>
                </a:lnTo>
                <a:lnTo>
                  <a:pt x="407479" y="205740"/>
                </a:lnTo>
                <a:lnTo>
                  <a:pt x="428345" y="215900"/>
                </a:lnTo>
                <a:lnTo>
                  <a:pt x="448830" y="228600"/>
                </a:lnTo>
                <a:lnTo>
                  <a:pt x="468909" y="241300"/>
                </a:lnTo>
                <a:lnTo>
                  <a:pt x="468909" y="199974"/>
                </a:lnTo>
                <a:lnTo>
                  <a:pt x="461899" y="195580"/>
                </a:lnTo>
                <a:lnTo>
                  <a:pt x="459498" y="194310"/>
                </a:lnTo>
                <a:lnTo>
                  <a:pt x="430669" y="179070"/>
                </a:lnTo>
                <a:lnTo>
                  <a:pt x="398691" y="162560"/>
                </a:lnTo>
                <a:lnTo>
                  <a:pt x="403148" y="153670"/>
                </a:lnTo>
                <a:lnTo>
                  <a:pt x="426021" y="107950"/>
                </a:lnTo>
                <a:lnTo>
                  <a:pt x="456336" y="67310"/>
                </a:lnTo>
                <a:lnTo>
                  <a:pt x="488645" y="41910"/>
                </a:lnTo>
                <a:lnTo>
                  <a:pt x="521944" y="33020"/>
                </a:lnTo>
                <a:lnTo>
                  <a:pt x="555244" y="41910"/>
                </a:lnTo>
                <a:lnTo>
                  <a:pt x="587603" y="67310"/>
                </a:lnTo>
                <a:lnTo>
                  <a:pt x="618070" y="107950"/>
                </a:lnTo>
                <a:lnTo>
                  <a:pt x="645693" y="162560"/>
                </a:lnTo>
                <a:lnTo>
                  <a:pt x="645693" y="89446"/>
                </a:lnTo>
                <a:lnTo>
                  <a:pt x="621728" y="54610"/>
                </a:lnTo>
                <a:lnTo>
                  <a:pt x="599541" y="33020"/>
                </a:lnTo>
                <a:lnTo>
                  <a:pt x="590410" y="24130"/>
                </a:lnTo>
                <a:lnTo>
                  <a:pt x="557009" y="6350"/>
                </a:lnTo>
                <a:lnTo>
                  <a:pt x="521944" y="0"/>
                </a:lnTo>
                <a:lnTo>
                  <a:pt x="486867" y="6350"/>
                </a:lnTo>
                <a:lnTo>
                  <a:pt x="453466" y="24130"/>
                </a:lnTo>
                <a:lnTo>
                  <a:pt x="422148" y="54610"/>
                </a:lnTo>
                <a:lnTo>
                  <a:pt x="393306" y="96520"/>
                </a:lnTo>
                <a:lnTo>
                  <a:pt x="367372" y="148590"/>
                </a:lnTo>
                <a:lnTo>
                  <a:pt x="355422" y="144475"/>
                </a:lnTo>
                <a:lnTo>
                  <a:pt x="355422" y="180340"/>
                </a:lnTo>
                <a:lnTo>
                  <a:pt x="344246" y="214630"/>
                </a:lnTo>
                <a:lnTo>
                  <a:pt x="334594" y="248920"/>
                </a:lnTo>
                <a:lnTo>
                  <a:pt x="326466" y="284480"/>
                </a:lnTo>
                <a:lnTo>
                  <a:pt x="319887" y="318770"/>
                </a:lnTo>
                <a:lnTo>
                  <a:pt x="286219" y="326085"/>
                </a:lnTo>
                <a:lnTo>
                  <a:pt x="286219" y="359410"/>
                </a:lnTo>
                <a:lnTo>
                  <a:pt x="284035" y="361950"/>
                </a:lnTo>
                <a:lnTo>
                  <a:pt x="281673" y="365760"/>
                </a:lnTo>
                <a:lnTo>
                  <a:pt x="277634" y="372110"/>
                </a:lnTo>
                <a:lnTo>
                  <a:pt x="273939" y="378460"/>
                </a:lnTo>
                <a:lnTo>
                  <a:pt x="272580" y="381000"/>
                </a:lnTo>
                <a:lnTo>
                  <a:pt x="269557" y="386080"/>
                </a:lnTo>
                <a:lnTo>
                  <a:pt x="267538" y="389890"/>
                </a:lnTo>
                <a:lnTo>
                  <a:pt x="264502" y="396240"/>
                </a:lnTo>
                <a:lnTo>
                  <a:pt x="263156" y="398780"/>
                </a:lnTo>
                <a:lnTo>
                  <a:pt x="260464" y="405130"/>
                </a:lnTo>
                <a:lnTo>
                  <a:pt x="258775" y="408940"/>
                </a:lnTo>
                <a:lnTo>
                  <a:pt x="257429" y="412750"/>
                </a:lnTo>
                <a:lnTo>
                  <a:pt x="253898" y="421640"/>
                </a:lnTo>
                <a:lnTo>
                  <a:pt x="252717" y="424180"/>
                </a:lnTo>
                <a:lnTo>
                  <a:pt x="251371" y="427990"/>
                </a:lnTo>
                <a:lnTo>
                  <a:pt x="249351" y="435610"/>
                </a:lnTo>
                <a:lnTo>
                  <a:pt x="248348" y="438150"/>
                </a:lnTo>
                <a:lnTo>
                  <a:pt x="246659" y="444500"/>
                </a:lnTo>
                <a:lnTo>
                  <a:pt x="245478" y="448310"/>
                </a:lnTo>
                <a:lnTo>
                  <a:pt x="243116" y="457200"/>
                </a:lnTo>
                <a:lnTo>
                  <a:pt x="241439" y="464820"/>
                </a:lnTo>
                <a:lnTo>
                  <a:pt x="241096" y="466090"/>
                </a:lnTo>
                <a:lnTo>
                  <a:pt x="240766" y="468630"/>
                </a:lnTo>
                <a:lnTo>
                  <a:pt x="235712" y="460527"/>
                </a:lnTo>
                <a:lnTo>
                  <a:pt x="235712" y="521970"/>
                </a:lnTo>
                <a:lnTo>
                  <a:pt x="215480" y="551180"/>
                </a:lnTo>
                <a:lnTo>
                  <a:pt x="196570" y="581660"/>
                </a:lnTo>
                <a:lnTo>
                  <a:pt x="178993" y="612140"/>
                </a:lnTo>
                <a:lnTo>
                  <a:pt x="162814" y="645160"/>
                </a:lnTo>
                <a:lnTo>
                  <a:pt x="107899" y="617220"/>
                </a:lnTo>
                <a:lnTo>
                  <a:pt x="67360" y="586740"/>
                </a:lnTo>
                <a:lnTo>
                  <a:pt x="42265" y="554990"/>
                </a:lnTo>
                <a:lnTo>
                  <a:pt x="33667" y="521970"/>
                </a:lnTo>
                <a:lnTo>
                  <a:pt x="42265" y="487680"/>
                </a:lnTo>
                <a:lnTo>
                  <a:pt x="67360" y="455930"/>
                </a:lnTo>
                <a:lnTo>
                  <a:pt x="107899" y="425450"/>
                </a:lnTo>
                <a:lnTo>
                  <a:pt x="162814" y="397510"/>
                </a:lnTo>
                <a:lnTo>
                  <a:pt x="178981" y="429260"/>
                </a:lnTo>
                <a:lnTo>
                  <a:pt x="196545" y="461010"/>
                </a:lnTo>
                <a:lnTo>
                  <a:pt x="215468" y="491490"/>
                </a:lnTo>
                <a:lnTo>
                  <a:pt x="235712" y="521970"/>
                </a:lnTo>
                <a:lnTo>
                  <a:pt x="235712" y="460527"/>
                </a:lnTo>
                <a:lnTo>
                  <a:pt x="228104" y="448310"/>
                </a:lnTo>
                <a:lnTo>
                  <a:pt x="216141" y="427990"/>
                </a:lnTo>
                <a:lnTo>
                  <a:pt x="204863" y="407670"/>
                </a:lnTo>
                <a:lnTo>
                  <a:pt x="199885" y="397510"/>
                </a:lnTo>
                <a:lnTo>
                  <a:pt x="194297" y="386080"/>
                </a:lnTo>
                <a:lnTo>
                  <a:pt x="239839" y="370840"/>
                </a:lnTo>
                <a:lnTo>
                  <a:pt x="262940" y="365760"/>
                </a:lnTo>
                <a:lnTo>
                  <a:pt x="286219" y="359410"/>
                </a:lnTo>
                <a:lnTo>
                  <a:pt x="286219" y="326085"/>
                </a:lnTo>
                <a:lnTo>
                  <a:pt x="249745" y="334010"/>
                </a:lnTo>
                <a:lnTo>
                  <a:pt x="181165" y="354330"/>
                </a:lnTo>
                <a:lnTo>
                  <a:pt x="170611" y="327660"/>
                </a:lnTo>
                <a:lnTo>
                  <a:pt x="162661" y="299720"/>
                </a:lnTo>
                <a:lnTo>
                  <a:pt x="157353" y="271780"/>
                </a:lnTo>
                <a:lnTo>
                  <a:pt x="155752" y="254000"/>
                </a:lnTo>
                <a:lnTo>
                  <a:pt x="155638" y="252730"/>
                </a:lnTo>
                <a:lnTo>
                  <a:pt x="154952" y="245110"/>
                </a:lnTo>
                <a:lnTo>
                  <a:pt x="154889" y="234950"/>
                </a:lnTo>
                <a:lnTo>
                  <a:pt x="166293" y="190500"/>
                </a:lnTo>
                <a:lnTo>
                  <a:pt x="206375" y="158750"/>
                </a:lnTo>
                <a:lnTo>
                  <a:pt x="247218" y="153670"/>
                </a:lnTo>
                <a:lnTo>
                  <a:pt x="297510" y="161290"/>
                </a:lnTo>
                <a:lnTo>
                  <a:pt x="355422" y="180340"/>
                </a:lnTo>
                <a:lnTo>
                  <a:pt x="355422" y="144475"/>
                </a:lnTo>
                <a:lnTo>
                  <a:pt x="312153" y="129540"/>
                </a:lnTo>
                <a:lnTo>
                  <a:pt x="262369" y="120650"/>
                </a:lnTo>
                <a:lnTo>
                  <a:pt x="218732" y="121920"/>
                </a:lnTo>
                <a:lnTo>
                  <a:pt x="181991" y="132080"/>
                </a:lnTo>
                <a:lnTo>
                  <a:pt x="137972" y="171450"/>
                </a:lnTo>
                <a:lnTo>
                  <a:pt x="121475" y="218440"/>
                </a:lnTo>
                <a:lnTo>
                  <a:pt x="120548" y="238760"/>
                </a:lnTo>
                <a:lnTo>
                  <a:pt x="120599" y="245110"/>
                </a:lnTo>
                <a:lnTo>
                  <a:pt x="123088" y="274320"/>
                </a:lnTo>
                <a:lnTo>
                  <a:pt x="128790" y="306070"/>
                </a:lnTo>
                <a:lnTo>
                  <a:pt x="137452" y="336550"/>
                </a:lnTo>
                <a:lnTo>
                  <a:pt x="149009" y="367030"/>
                </a:lnTo>
                <a:lnTo>
                  <a:pt x="96596" y="392430"/>
                </a:lnTo>
                <a:lnTo>
                  <a:pt x="55016" y="421640"/>
                </a:lnTo>
                <a:lnTo>
                  <a:pt x="24765" y="453390"/>
                </a:lnTo>
                <a:lnTo>
                  <a:pt x="6261" y="486410"/>
                </a:lnTo>
                <a:lnTo>
                  <a:pt x="0" y="521970"/>
                </a:lnTo>
                <a:lnTo>
                  <a:pt x="6261" y="556260"/>
                </a:lnTo>
                <a:lnTo>
                  <a:pt x="24765" y="589280"/>
                </a:lnTo>
                <a:lnTo>
                  <a:pt x="55016" y="621030"/>
                </a:lnTo>
                <a:lnTo>
                  <a:pt x="96596" y="650240"/>
                </a:lnTo>
                <a:lnTo>
                  <a:pt x="149009" y="675640"/>
                </a:lnTo>
                <a:lnTo>
                  <a:pt x="137452" y="706120"/>
                </a:lnTo>
                <a:lnTo>
                  <a:pt x="128790" y="736600"/>
                </a:lnTo>
                <a:lnTo>
                  <a:pt x="123088" y="768350"/>
                </a:lnTo>
                <a:lnTo>
                  <a:pt x="121348" y="788670"/>
                </a:lnTo>
                <a:lnTo>
                  <a:pt x="121246" y="789940"/>
                </a:lnTo>
                <a:lnTo>
                  <a:pt x="121132" y="791210"/>
                </a:lnTo>
                <a:lnTo>
                  <a:pt x="121031" y="792480"/>
                </a:lnTo>
                <a:lnTo>
                  <a:pt x="120916" y="793750"/>
                </a:lnTo>
                <a:lnTo>
                  <a:pt x="120815" y="795020"/>
                </a:lnTo>
                <a:lnTo>
                  <a:pt x="120700" y="796290"/>
                </a:lnTo>
                <a:lnTo>
                  <a:pt x="120599" y="797560"/>
                </a:lnTo>
                <a:lnTo>
                  <a:pt x="120548" y="803910"/>
                </a:lnTo>
                <a:lnTo>
                  <a:pt x="121475" y="825500"/>
                </a:lnTo>
                <a:lnTo>
                  <a:pt x="137972" y="871220"/>
                </a:lnTo>
                <a:lnTo>
                  <a:pt x="172593" y="905510"/>
                </a:lnTo>
                <a:lnTo>
                  <a:pt x="218427" y="922020"/>
                </a:lnTo>
                <a:lnTo>
                  <a:pt x="243116" y="923290"/>
                </a:lnTo>
                <a:lnTo>
                  <a:pt x="275145" y="920750"/>
                </a:lnTo>
                <a:lnTo>
                  <a:pt x="306705" y="914400"/>
                </a:lnTo>
                <a:lnTo>
                  <a:pt x="337578" y="905510"/>
                </a:lnTo>
                <a:lnTo>
                  <a:pt x="367550" y="894080"/>
                </a:lnTo>
                <a:lnTo>
                  <a:pt x="393395" y="946150"/>
                </a:lnTo>
                <a:lnTo>
                  <a:pt x="422186" y="988060"/>
                </a:lnTo>
                <a:lnTo>
                  <a:pt x="453478" y="1018540"/>
                </a:lnTo>
                <a:lnTo>
                  <a:pt x="486879" y="1037590"/>
                </a:lnTo>
                <a:lnTo>
                  <a:pt x="521944" y="1042670"/>
                </a:lnTo>
                <a:lnTo>
                  <a:pt x="557009" y="1037590"/>
                </a:lnTo>
                <a:lnTo>
                  <a:pt x="590410" y="1018540"/>
                </a:lnTo>
                <a:lnTo>
                  <a:pt x="599541" y="1009650"/>
                </a:lnTo>
                <a:lnTo>
                  <a:pt x="621728" y="988060"/>
                </a:lnTo>
                <a:lnTo>
                  <a:pt x="650570" y="946150"/>
                </a:lnTo>
                <a:lnTo>
                  <a:pt x="676503" y="894080"/>
                </a:lnTo>
                <a:lnTo>
                  <a:pt x="706424" y="905510"/>
                </a:lnTo>
                <a:lnTo>
                  <a:pt x="737260" y="914400"/>
                </a:lnTo>
                <a:lnTo>
                  <a:pt x="768769" y="920750"/>
                </a:lnTo>
                <a:lnTo>
                  <a:pt x="800760" y="923290"/>
                </a:lnTo>
                <a:lnTo>
                  <a:pt x="845235" y="918210"/>
                </a:lnTo>
                <a:lnTo>
                  <a:pt x="883158" y="897890"/>
                </a:lnTo>
                <a:lnTo>
                  <a:pt x="886206" y="894080"/>
                </a:lnTo>
                <a:lnTo>
                  <a:pt x="890257" y="889000"/>
                </a:lnTo>
                <a:lnTo>
                  <a:pt x="910564" y="863600"/>
                </a:lnTo>
                <a:lnTo>
                  <a:pt x="923493" y="821690"/>
                </a:lnTo>
                <a:lnTo>
                  <a:pt x="924052" y="815340"/>
                </a:lnTo>
                <a:lnTo>
                  <a:pt x="924166" y="807720"/>
                </a:lnTo>
                <a:lnTo>
                  <a:pt x="920788" y="768350"/>
                </a:lnTo>
                <a:lnTo>
                  <a:pt x="915085" y="736600"/>
                </a:lnTo>
                <a:lnTo>
                  <a:pt x="906437" y="706120"/>
                </a:lnTo>
                <a:lnTo>
                  <a:pt x="899693" y="688340"/>
                </a:lnTo>
                <a:lnTo>
                  <a:pt x="897763" y="683260"/>
                </a:lnTo>
                <a:lnTo>
                  <a:pt x="894880" y="675640"/>
                </a:lnTo>
                <a:lnTo>
                  <a:pt x="947293" y="650240"/>
                </a:lnTo>
                <a:lnTo>
                  <a:pt x="954519" y="645160"/>
                </a:lnTo>
                <a:lnTo>
                  <a:pt x="988860" y="621030"/>
                </a:lnTo>
                <a:lnTo>
                  <a:pt x="1019124" y="589280"/>
                </a:lnTo>
                <a:lnTo>
                  <a:pt x="1037615" y="556260"/>
                </a:lnTo>
                <a:lnTo>
                  <a:pt x="1043876" y="521970"/>
                </a:lnTo>
                <a:close/>
              </a:path>
            </a:pathLst>
          </a:custGeom>
          <a:solidFill>
            <a:srgbClr val="6400FF"/>
          </a:solidFill>
        </p:spPr>
        <p:txBody>
          <a:bodyPr wrap="square" lIns="0" tIns="0" rIns="0" bIns="0" rtlCol="0"/>
          <a:lstStyle/>
          <a:p>
            <a:endParaRPr sz="372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grpSp>
        <p:nvGrpSpPr>
          <p:cNvPr id="108" name="object 31">
            <a:extLst>
              <a:ext uri="{FF2B5EF4-FFF2-40B4-BE49-F238E27FC236}">
                <a16:creationId xmlns:a16="http://schemas.microsoft.com/office/drawing/2014/main" id="{7C699DEF-7B42-D496-88EF-1E63959CA728}"/>
              </a:ext>
            </a:extLst>
          </p:cNvPr>
          <p:cNvGrpSpPr/>
          <p:nvPr/>
        </p:nvGrpSpPr>
        <p:grpSpPr>
          <a:xfrm flipH="1">
            <a:off x="6681723" y="1221602"/>
            <a:ext cx="419624" cy="451103"/>
            <a:chOff x="4582016" y="2686017"/>
            <a:chExt cx="922655" cy="991869"/>
          </a:xfrm>
        </p:grpSpPr>
        <p:pic>
          <p:nvPicPr>
            <p:cNvPr id="109" name="object 32">
              <a:extLst>
                <a:ext uri="{FF2B5EF4-FFF2-40B4-BE49-F238E27FC236}">
                  <a16:creationId xmlns:a16="http://schemas.microsoft.com/office/drawing/2014/main" id="{913EC965-6DF3-3889-EA46-CE9E0A4E2A7E}"/>
                </a:ext>
              </a:extLst>
            </p:cNvPr>
            <p:cNvPicPr/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29516" y="3066609"/>
              <a:ext cx="230296" cy="230275"/>
            </a:xfrm>
            <a:prstGeom prst="rect">
              <a:avLst/>
            </a:prstGeom>
          </p:spPr>
        </p:pic>
        <p:sp>
          <p:nvSpPr>
            <p:cNvPr id="110" name="object 33">
              <a:extLst>
                <a:ext uri="{FF2B5EF4-FFF2-40B4-BE49-F238E27FC236}">
                  <a16:creationId xmlns:a16="http://schemas.microsoft.com/office/drawing/2014/main" id="{26E5AC36-24E1-5B65-37D6-201812031A31}"/>
                </a:ext>
              </a:extLst>
            </p:cNvPr>
            <p:cNvSpPr/>
            <p:nvPr/>
          </p:nvSpPr>
          <p:spPr>
            <a:xfrm>
              <a:off x="4582016" y="2686017"/>
              <a:ext cx="922655" cy="991869"/>
            </a:xfrm>
            <a:custGeom>
              <a:avLst/>
              <a:gdLst/>
              <a:ahLst/>
              <a:cxnLst/>
              <a:rect l="l" t="t" r="r" b="b"/>
              <a:pathLst>
                <a:path w="922654" h="991870">
                  <a:moveTo>
                    <a:pt x="318632" y="800100"/>
                  </a:moveTo>
                  <a:lnTo>
                    <a:pt x="287167" y="800100"/>
                  </a:lnTo>
                  <a:lnTo>
                    <a:pt x="309759" y="857250"/>
                  </a:lnTo>
                  <a:lnTo>
                    <a:pt x="335571" y="904240"/>
                  </a:lnTo>
                  <a:lnTo>
                    <a:pt x="364185" y="942340"/>
                  </a:lnTo>
                  <a:lnTo>
                    <a:pt x="395181" y="970280"/>
                  </a:lnTo>
                  <a:lnTo>
                    <a:pt x="462649" y="991870"/>
                  </a:lnTo>
                  <a:lnTo>
                    <a:pt x="486343" y="989330"/>
                  </a:lnTo>
                  <a:lnTo>
                    <a:pt x="509615" y="981710"/>
                  </a:lnTo>
                  <a:lnTo>
                    <a:pt x="532210" y="967740"/>
                  </a:lnTo>
                  <a:lnTo>
                    <a:pt x="538399" y="962660"/>
                  </a:lnTo>
                  <a:lnTo>
                    <a:pt x="462691" y="962660"/>
                  </a:lnTo>
                  <a:lnTo>
                    <a:pt x="429629" y="956310"/>
                  </a:lnTo>
                  <a:lnTo>
                    <a:pt x="397664" y="934720"/>
                  </a:lnTo>
                  <a:lnTo>
                    <a:pt x="367562" y="899160"/>
                  </a:lnTo>
                  <a:lnTo>
                    <a:pt x="340090" y="852170"/>
                  </a:lnTo>
                  <a:lnTo>
                    <a:pt x="318632" y="800100"/>
                  </a:lnTo>
                  <a:close/>
                </a:path>
                <a:path w="922654" h="991870">
                  <a:moveTo>
                    <a:pt x="591116" y="825500"/>
                  </a:moveTo>
                  <a:lnTo>
                    <a:pt x="579923" y="825500"/>
                  </a:lnTo>
                  <a:lnTo>
                    <a:pt x="554675" y="830580"/>
                  </a:lnTo>
                  <a:lnTo>
                    <a:pt x="534055" y="844550"/>
                  </a:lnTo>
                  <a:lnTo>
                    <a:pt x="520150" y="864870"/>
                  </a:lnTo>
                  <a:lnTo>
                    <a:pt x="515045" y="890270"/>
                  </a:lnTo>
                  <a:lnTo>
                    <a:pt x="516040" y="901700"/>
                  </a:lnTo>
                  <a:lnTo>
                    <a:pt x="518963" y="911860"/>
                  </a:lnTo>
                  <a:lnTo>
                    <a:pt x="523726" y="922020"/>
                  </a:lnTo>
                  <a:lnTo>
                    <a:pt x="530239" y="932180"/>
                  </a:lnTo>
                  <a:lnTo>
                    <a:pt x="513744" y="946150"/>
                  </a:lnTo>
                  <a:lnTo>
                    <a:pt x="496959" y="955040"/>
                  </a:lnTo>
                  <a:lnTo>
                    <a:pt x="479927" y="961390"/>
                  </a:lnTo>
                  <a:lnTo>
                    <a:pt x="462691" y="962660"/>
                  </a:lnTo>
                  <a:lnTo>
                    <a:pt x="538399" y="962660"/>
                  </a:lnTo>
                  <a:lnTo>
                    <a:pt x="553871" y="949960"/>
                  </a:lnTo>
                  <a:lnTo>
                    <a:pt x="605413" y="949960"/>
                  </a:lnTo>
                  <a:lnTo>
                    <a:pt x="624512" y="937260"/>
                  </a:lnTo>
                  <a:lnTo>
                    <a:pt x="632348" y="925830"/>
                  </a:lnTo>
                  <a:lnTo>
                    <a:pt x="579860" y="925830"/>
                  </a:lnTo>
                  <a:lnTo>
                    <a:pt x="566442" y="923290"/>
                  </a:lnTo>
                  <a:lnTo>
                    <a:pt x="554636" y="915670"/>
                  </a:lnTo>
                  <a:lnTo>
                    <a:pt x="546785" y="904240"/>
                  </a:lnTo>
                  <a:lnTo>
                    <a:pt x="544153" y="890270"/>
                  </a:lnTo>
                  <a:lnTo>
                    <a:pt x="546742" y="876300"/>
                  </a:lnTo>
                  <a:lnTo>
                    <a:pt x="554552" y="864870"/>
                  </a:lnTo>
                  <a:lnTo>
                    <a:pt x="566335" y="857250"/>
                  </a:lnTo>
                  <a:lnTo>
                    <a:pt x="579745" y="854710"/>
                  </a:lnTo>
                  <a:lnTo>
                    <a:pt x="633500" y="854710"/>
                  </a:lnTo>
                  <a:lnTo>
                    <a:pt x="625775" y="844550"/>
                  </a:lnTo>
                  <a:lnTo>
                    <a:pt x="624717" y="843280"/>
                  </a:lnTo>
                  <a:lnTo>
                    <a:pt x="622477" y="840740"/>
                  </a:lnTo>
                  <a:lnTo>
                    <a:pt x="626546" y="831850"/>
                  </a:lnTo>
                  <a:lnTo>
                    <a:pt x="628036" y="828040"/>
                  </a:lnTo>
                  <a:lnTo>
                    <a:pt x="596551" y="828040"/>
                  </a:lnTo>
                  <a:lnTo>
                    <a:pt x="591116" y="825500"/>
                  </a:lnTo>
                  <a:close/>
                </a:path>
                <a:path w="922654" h="991870">
                  <a:moveTo>
                    <a:pt x="605413" y="949960"/>
                  </a:moveTo>
                  <a:lnTo>
                    <a:pt x="553871" y="949960"/>
                  </a:lnTo>
                  <a:lnTo>
                    <a:pt x="579040" y="955040"/>
                  </a:lnTo>
                  <a:lnTo>
                    <a:pt x="603503" y="951230"/>
                  </a:lnTo>
                  <a:lnTo>
                    <a:pt x="605413" y="949960"/>
                  </a:lnTo>
                  <a:close/>
                </a:path>
                <a:path w="922654" h="991870">
                  <a:moveTo>
                    <a:pt x="633500" y="854710"/>
                  </a:moveTo>
                  <a:lnTo>
                    <a:pt x="579745" y="854710"/>
                  </a:lnTo>
                  <a:lnTo>
                    <a:pt x="593163" y="857250"/>
                  </a:lnTo>
                  <a:lnTo>
                    <a:pt x="604969" y="864870"/>
                  </a:lnTo>
                  <a:lnTo>
                    <a:pt x="609439" y="869950"/>
                  </a:lnTo>
                  <a:lnTo>
                    <a:pt x="612727" y="876300"/>
                  </a:lnTo>
                  <a:lnTo>
                    <a:pt x="614757" y="882650"/>
                  </a:lnTo>
                  <a:lnTo>
                    <a:pt x="615451" y="890270"/>
                  </a:lnTo>
                  <a:lnTo>
                    <a:pt x="614763" y="896620"/>
                  </a:lnTo>
                  <a:lnTo>
                    <a:pt x="579860" y="925830"/>
                  </a:lnTo>
                  <a:lnTo>
                    <a:pt x="632348" y="925830"/>
                  </a:lnTo>
                  <a:lnTo>
                    <a:pt x="639314" y="915670"/>
                  </a:lnTo>
                  <a:lnTo>
                    <a:pt x="644377" y="897890"/>
                  </a:lnTo>
                  <a:lnTo>
                    <a:pt x="643645" y="877570"/>
                  </a:lnTo>
                  <a:lnTo>
                    <a:pt x="637363" y="859790"/>
                  </a:lnTo>
                  <a:lnTo>
                    <a:pt x="633500" y="854710"/>
                  </a:lnTo>
                  <a:close/>
                </a:path>
                <a:path w="922654" h="991870">
                  <a:moveTo>
                    <a:pt x="546658" y="744220"/>
                  </a:moveTo>
                  <a:lnTo>
                    <a:pt x="462701" y="744220"/>
                  </a:lnTo>
                  <a:lnTo>
                    <a:pt x="534962" y="772160"/>
                  </a:lnTo>
                  <a:lnTo>
                    <a:pt x="571933" y="783590"/>
                  </a:lnTo>
                  <a:lnTo>
                    <a:pt x="609398" y="793750"/>
                  </a:lnTo>
                  <a:lnTo>
                    <a:pt x="606288" y="802640"/>
                  </a:lnTo>
                  <a:lnTo>
                    <a:pt x="603112" y="811530"/>
                  </a:lnTo>
                  <a:lnTo>
                    <a:pt x="599867" y="819150"/>
                  </a:lnTo>
                  <a:lnTo>
                    <a:pt x="596551" y="828040"/>
                  </a:lnTo>
                  <a:lnTo>
                    <a:pt x="628036" y="828040"/>
                  </a:lnTo>
                  <a:lnTo>
                    <a:pt x="630521" y="821690"/>
                  </a:lnTo>
                  <a:lnTo>
                    <a:pt x="634398" y="810260"/>
                  </a:lnTo>
                  <a:lnTo>
                    <a:pt x="638172" y="800100"/>
                  </a:lnTo>
                  <a:lnTo>
                    <a:pt x="811467" y="800100"/>
                  </a:lnTo>
                  <a:lnTo>
                    <a:pt x="833481" y="793750"/>
                  </a:lnTo>
                  <a:lnTo>
                    <a:pt x="855084" y="781050"/>
                  </a:lnTo>
                  <a:lnTo>
                    <a:pt x="709693" y="781050"/>
                  </a:lnTo>
                  <a:lnTo>
                    <a:pt x="647083" y="772160"/>
                  </a:lnTo>
                  <a:lnTo>
                    <a:pt x="648730" y="765810"/>
                  </a:lnTo>
                  <a:lnTo>
                    <a:pt x="618309" y="765810"/>
                  </a:lnTo>
                  <a:lnTo>
                    <a:pt x="587891" y="758190"/>
                  </a:lnTo>
                  <a:lnTo>
                    <a:pt x="546658" y="744220"/>
                  </a:lnTo>
                  <a:close/>
                </a:path>
                <a:path w="922654" h="991870">
                  <a:moveTo>
                    <a:pt x="119840" y="461010"/>
                  </a:moveTo>
                  <a:lnTo>
                    <a:pt x="83362" y="461010"/>
                  </a:lnTo>
                  <a:lnTo>
                    <a:pt x="90034" y="469900"/>
                  </a:lnTo>
                  <a:lnTo>
                    <a:pt x="97008" y="478790"/>
                  </a:lnTo>
                  <a:lnTo>
                    <a:pt x="104277" y="487680"/>
                  </a:lnTo>
                  <a:lnTo>
                    <a:pt x="111832" y="496570"/>
                  </a:lnTo>
                  <a:lnTo>
                    <a:pt x="73979" y="544830"/>
                  </a:lnTo>
                  <a:lnTo>
                    <a:pt x="45720" y="590550"/>
                  </a:lnTo>
                  <a:lnTo>
                    <a:pt x="27271" y="633730"/>
                  </a:lnTo>
                  <a:lnTo>
                    <a:pt x="18847" y="674370"/>
                  </a:lnTo>
                  <a:lnTo>
                    <a:pt x="20538" y="708660"/>
                  </a:lnTo>
                  <a:lnTo>
                    <a:pt x="57251" y="773430"/>
                  </a:lnTo>
                  <a:lnTo>
                    <a:pt x="91813" y="793750"/>
                  </a:lnTo>
                  <a:lnTo>
                    <a:pt x="135841" y="806450"/>
                  </a:lnTo>
                  <a:lnTo>
                    <a:pt x="188553" y="811530"/>
                  </a:lnTo>
                  <a:lnTo>
                    <a:pt x="213379" y="810260"/>
                  </a:lnTo>
                  <a:lnTo>
                    <a:pt x="262730" y="805180"/>
                  </a:lnTo>
                  <a:lnTo>
                    <a:pt x="287167" y="800100"/>
                  </a:lnTo>
                  <a:lnTo>
                    <a:pt x="318632" y="800100"/>
                  </a:lnTo>
                  <a:lnTo>
                    <a:pt x="316015" y="793750"/>
                  </a:lnTo>
                  <a:lnTo>
                    <a:pt x="353474" y="783590"/>
                  </a:lnTo>
                  <a:lnTo>
                    <a:pt x="361689" y="781050"/>
                  </a:lnTo>
                  <a:lnTo>
                    <a:pt x="215637" y="781050"/>
                  </a:lnTo>
                  <a:lnTo>
                    <a:pt x="161135" y="779780"/>
                  </a:lnTo>
                  <a:lnTo>
                    <a:pt x="115944" y="772160"/>
                  </a:lnTo>
                  <a:lnTo>
                    <a:pt x="81270" y="754380"/>
                  </a:lnTo>
                  <a:lnTo>
                    <a:pt x="48202" y="697230"/>
                  </a:lnTo>
                  <a:lnTo>
                    <a:pt x="50931" y="659130"/>
                  </a:lnTo>
                  <a:lnTo>
                    <a:pt x="66049" y="615950"/>
                  </a:lnTo>
                  <a:lnTo>
                    <a:pt x="93123" y="567690"/>
                  </a:lnTo>
                  <a:lnTo>
                    <a:pt x="131717" y="518160"/>
                  </a:lnTo>
                  <a:lnTo>
                    <a:pt x="173607" y="518160"/>
                  </a:lnTo>
                  <a:lnTo>
                    <a:pt x="151454" y="496570"/>
                  </a:lnTo>
                  <a:lnTo>
                    <a:pt x="172381" y="474980"/>
                  </a:lnTo>
                  <a:lnTo>
                    <a:pt x="131675" y="474980"/>
                  </a:lnTo>
                  <a:lnTo>
                    <a:pt x="125657" y="467360"/>
                  </a:lnTo>
                  <a:lnTo>
                    <a:pt x="119840" y="461010"/>
                  </a:lnTo>
                  <a:close/>
                </a:path>
                <a:path w="922654" h="991870">
                  <a:moveTo>
                    <a:pt x="811467" y="800100"/>
                  </a:moveTo>
                  <a:lnTo>
                    <a:pt x="638172" y="800100"/>
                  </a:lnTo>
                  <a:lnTo>
                    <a:pt x="662596" y="805180"/>
                  </a:lnTo>
                  <a:lnTo>
                    <a:pt x="711927" y="810260"/>
                  </a:lnTo>
                  <a:lnTo>
                    <a:pt x="736745" y="811530"/>
                  </a:lnTo>
                  <a:lnTo>
                    <a:pt x="789453" y="806450"/>
                  </a:lnTo>
                  <a:lnTo>
                    <a:pt x="811467" y="800100"/>
                  </a:lnTo>
                  <a:close/>
                </a:path>
                <a:path w="922654" h="991870">
                  <a:moveTo>
                    <a:pt x="173607" y="518160"/>
                  </a:moveTo>
                  <a:lnTo>
                    <a:pt x="131717" y="518160"/>
                  </a:lnTo>
                  <a:lnTo>
                    <a:pt x="159245" y="546100"/>
                  </a:lnTo>
                  <a:lnTo>
                    <a:pt x="187930" y="571500"/>
                  </a:lnTo>
                  <a:lnTo>
                    <a:pt x="217729" y="596900"/>
                  </a:lnTo>
                  <a:lnTo>
                    <a:pt x="248603" y="619760"/>
                  </a:lnTo>
                  <a:lnTo>
                    <a:pt x="253541" y="657860"/>
                  </a:lnTo>
                  <a:lnTo>
                    <a:pt x="260134" y="697230"/>
                  </a:lnTo>
                  <a:lnTo>
                    <a:pt x="268373" y="734060"/>
                  </a:lnTo>
                  <a:lnTo>
                    <a:pt x="278246" y="772160"/>
                  </a:lnTo>
                  <a:lnTo>
                    <a:pt x="215637" y="781050"/>
                  </a:lnTo>
                  <a:lnTo>
                    <a:pt x="361689" y="781050"/>
                  </a:lnTo>
                  <a:lnTo>
                    <a:pt x="390442" y="772160"/>
                  </a:lnTo>
                  <a:lnTo>
                    <a:pt x="406999" y="765810"/>
                  </a:lnTo>
                  <a:lnTo>
                    <a:pt x="306978" y="765810"/>
                  </a:lnTo>
                  <a:lnTo>
                    <a:pt x="298767" y="735330"/>
                  </a:lnTo>
                  <a:lnTo>
                    <a:pt x="291699" y="704850"/>
                  </a:lnTo>
                  <a:lnTo>
                    <a:pt x="285781" y="674370"/>
                  </a:lnTo>
                  <a:lnTo>
                    <a:pt x="281021" y="642620"/>
                  </a:lnTo>
                  <a:lnTo>
                    <a:pt x="335032" y="642620"/>
                  </a:lnTo>
                  <a:lnTo>
                    <a:pt x="320422" y="633730"/>
                  </a:lnTo>
                  <a:lnTo>
                    <a:pt x="298082" y="618490"/>
                  </a:lnTo>
                  <a:lnTo>
                    <a:pt x="276414" y="603250"/>
                  </a:lnTo>
                  <a:lnTo>
                    <a:pt x="274330" y="580390"/>
                  </a:lnTo>
                  <a:lnTo>
                    <a:pt x="244917" y="580390"/>
                  </a:lnTo>
                  <a:lnTo>
                    <a:pt x="220367" y="561340"/>
                  </a:lnTo>
                  <a:lnTo>
                    <a:pt x="196588" y="539750"/>
                  </a:lnTo>
                  <a:lnTo>
                    <a:pt x="173607" y="518160"/>
                  </a:lnTo>
                  <a:close/>
                </a:path>
                <a:path w="922654" h="991870">
                  <a:moveTo>
                    <a:pt x="830408" y="518160"/>
                  </a:moveTo>
                  <a:lnTo>
                    <a:pt x="793581" y="518160"/>
                  </a:lnTo>
                  <a:lnTo>
                    <a:pt x="832175" y="567690"/>
                  </a:lnTo>
                  <a:lnTo>
                    <a:pt x="859247" y="615950"/>
                  </a:lnTo>
                  <a:lnTo>
                    <a:pt x="874362" y="659130"/>
                  </a:lnTo>
                  <a:lnTo>
                    <a:pt x="877085" y="697230"/>
                  </a:lnTo>
                  <a:lnTo>
                    <a:pt x="868148" y="726440"/>
                  </a:lnTo>
                  <a:lnTo>
                    <a:pt x="867024" y="730250"/>
                  </a:lnTo>
                  <a:lnTo>
                    <a:pt x="844065" y="754380"/>
                  </a:lnTo>
                  <a:lnTo>
                    <a:pt x="809387" y="772160"/>
                  </a:lnTo>
                  <a:lnTo>
                    <a:pt x="764195" y="779780"/>
                  </a:lnTo>
                  <a:lnTo>
                    <a:pt x="709693" y="781050"/>
                  </a:lnTo>
                  <a:lnTo>
                    <a:pt x="855084" y="781050"/>
                  </a:lnTo>
                  <a:lnTo>
                    <a:pt x="892364" y="744220"/>
                  </a:lnTo>
                  <a:lnTo>
                    <a:pt x="906338" y="676910"/>
                  </a:lnTo>
                  <a:lnTo>
                    <a:pt x="906463" y="674370"/>
                  </a:lnTo>
                  <a:lnTo>
                    <a:pt x="898036" y="633730"/>
                  </a:lnTo>
                  <a:lnTo>
                    <a:pt x="879584" y="590550"/>
                  </a:lnTo>
                  <a:lnTo>
                    <a:pt x="851324" y="544830"/>
                  </a:lnTo>
                  <a:lnTo>
                    <a:pt x="830408" y="518160"/>
                  </a:lnTo>
                  <a:close/>
                </a:path>
                <a:path w="922654" h="991870">
                  <a:moveTo>
                    <a:pt x="335032" y="642620"/>
                  </a:moveTo>
                  <a:lnTo>
                    <a:pt x="281021" y="642620"/>
                  </a:lnTo>
                  <a:lnTo>
                    <a:pt x="298306" y="654050"/>
                  </a:lnTo>
                  <a:lnTo>
                    <a:pt x="315953" y="665480"/>
                  </a:lnTo>
                  <a:lnTo>
                    <a:pt x="333940" y="676910"/>
                  </a:lnTo>
                  <a:lnTo>
                    <a:pt x="352244" y="687070"/>
                  </a:lnTo>
                  <a:lnTo>
                    <a:pt x="370632" y="698500"/>
                  </a:lnTo>
                  <a:lnTo>
                    <a:pt x="389164" y="708660"/>
                  </a:lnTo>
                  <a:lnTo>
                    <a:pt x="426556" y="726440"/>
                  </a:lnTo>
                  <a:lnTo>
                    <a:pt x="397226" y="737870"/>
                  </a:lnTo>
                  <a:lnTo>
                    <a:pt x="337404" y="758190"/>
                  </a:lnTo>
                  <a:lnTo>
                    <a:pt x="306978" y="765810"/>
                  </a:lnTo>
                  <a:lnTo>
                    <a:pt x="406999" y="765810"/>
                  </a:lnTo>
                  <a:lnTo>
                    <a:pt x="462701" y="744220"/>
                  </a:lnTo>
                  <a:lnTo>
                    <a:pt x="546658" y="744220"/>
                  </a:lnTo>
                  <a:lnTo>
                    <a:pt x="528081" y="737870"/>
                  </a:lnTo>
                  <a:lnTo>
                    <a:pt x="498753" y="726440"/>
                  </a:lnTo>
                  <a:lnTo>
                    <a:pt x="530796" y="711200"/>
                  </a:lnTo>
                  <a:lnTo>
                    <a:pt x="462670" y="711200"/>
                  </a:lnTo>
                  <a:lnTo>
                    <a:pt x="414483" y="688340"/>
                  </a:lnTo>
                  <a:lnTo>
                    <a:pt x="390578" y="675640"/>
                  </a:lnTo>
                  <a:lnTo>
                    <a:pt x="343380" y="647700"/>
                  </a:lnTo>
                  <a:lnTo>
                    <a:pt x="335032" y="642620"/>
                  </a:lnTo>
                  <a:close/>
                </a:path>
                <a:path w="922654" h="991870">
                  <a:moveTo>
                    <a:pt x="673776" y="642620"/>
                  </a:moveTo>
                  <a:lnTo>
                    <a:pt x="644246" y="642620"/>
                  </a:lnTo>
                  <a:lnTo>
                    <a:pt x="639494" y="674370"/>
                  </a:lnTo>
                  <a:lnTo>
                    <a:pt x="633582" y="704850"/>
                  </a:lnTo>
                  <a:lnTo>
                    <a:pt x="626519" y="735330"/>
                  </a:lnTo>
                  <a:lnTo>
                    <a:pt x="618309" y="765810"/>
                  </a:lnTo>
                  <a:lnTo>
                    <a:pt x="648730" y="765810"/>
                  </a:lnTo>
                  <a:lnTo>
                    <a:pt x="656964" y="734060"/>
                  </a:lnTo>
                  <a:lnTo>
                    <a:pt x="665208" y="697230"/>
                  </a:lnTo>
                  <a:lnTo>
                    <a:pt x="671803" y="657860"/>
                  </a:lnTo>
                  <a:lnTo>
                    <a:pt x="673776" y="642620"/>
                  </a:lnTo>
                  <a:close/>
                </a:path>
                <a:path w="922654" h="991870">
                  <a:moveTo>
                    <a:pt x="528145" y="280670"/>
                  </a:moveTo>
                  <a:lnTo>
                    <a:pt x="462659" y="280670"/>
                  </a:lnTo>
                  <a:lnTo>
                    <a:pt x="486782" y="292100"/>
                  </a:lnTo>
                  <a:lnTo>
                    <a:pt x="558426" y="330200"/>
                  </a:lnTo>
                  <a:lnTo>
                    <a:pt x="581949" y="344170"/>
                  </a:lnTo>
                  <a:lnTo>
                    <a:pt x="604909" y="359410"/>
                  </a:lnTo>
                  <a:lnTo>
                    <a:pt x="627252" y="373380"/>
                  </a:lnTo>
                  <a:lnTo>
                    <a:pt x="651236" y="415290"/>
                  </a:lnTo>
                  <a:lnTo>
                    <a:pt x="653585" y="459740"/>
                  </a:lnTo>
                  <a:lnTo>
                    <a:pt x="653682" y="462280"/>
                  </a:lnTo>
                  <a:lnTo>
                    <a:pt x="653778" y="464820"/>
                  </a:lnTo>
                  <a:lnTo>
                    <a:pt x="653875" y="467360"/>
                  </a:lnTo>
                  <a:lnTo>
                    <a:pt x="653924" y="468630"/>
                  </a:lnTo>
                  <a:lnTo>
                    <a:pt x="654048" y="478790"/>
                  </a:lnTo>
                  <a:lnTo>
                    <a:pt x="654157" y="487680"/>
                  </a:lnTo>
                  <a:lnTo>
                    <a:pt x="654266" y="496570"/>
                  </a:lnTo>
                  <a:lnTo>
                    <a:pt x="654005" y="516890"/>
                  </a:lnTo>
                  <a:lnTo>
                    <a:pt x="651236" y="577850"/>
                  </a:lnTo>
                  <a:lnTo>
                    <a:pt x="627269" y="618490"/>
                  </a:lnTo>
                  <a:lnTo>
                    <a:pt x="581963" y="647700"/>
                  </a:lnTo>
                  <a:lnTo>
                    <a:pt x="534738" y="675640"/>
                  </a:lnTo>
                  <a:lnTo>
                    <a:pt x="462670" y="711200"/>
                  </a:lnTo>
                  <a:lnTo>
                    <a:pt x="530796" y="711200"/>
                  </a:lnTo>
                  <a:lnTo>
                    <a:pt x="536125" y="708660"/>
                  </a:lnTo>
                  <a:lnTo>
                    <a:pt x="554667" y="698500"/>
                  </a:lnTo>
                  <a:lnTo>
                    <a:pt x="573065" y="687070"/>
                  </a:lnTo>
                  <a:lnTo>
                    <a:pt x="591380" y="676910"/>
                  </a:lnTo>
                  <a:lnTo>
                    <a:pt x="609366" y="665480"/>
                  </a:lnTo>
                  <a:lnTo>
                    <a:pt x="626997" y="654050"/>
                  </a:lnTo>
                  <a:lnTo>
                    <a:pt x="644246" y="642620"/>
                  </a:lnTo>
                  <a:lnTo>
                    <a:pt x="673776" y="642620"/>
                  </a:lnTo>
                  <a:lnTo>
                    <a:pt x="676737" y="619760"/>
                  </a:lnTo>
                  <a:lnTo>
                    <a:pt x="707602" y="596900"/>
                  </a:lnTo>
                  <a:lnTo>
                    <a:pt x="726966" y="580390"/>
                  </a:lnTo>
                  <a:lnTo>
                    <a:pt x="680370" y="580390"/>
                  </a:lnTo>
                  <a:lnTo>
                    <a:pt x="681655" y="561340"/>
                  </a:lnTo>
                  <a:lnTo>
                    <a:pt x="681741" y="560070"/>
                  </a:lnTo>
                  <a:lnTo>
                    <a:pt x="682676" y="539750"/>
                  </a:lnTo>
                  <a:lnTo>
                    <a:pt x="682734" y="538480"/>
                  </a:lnTo>
                  <a:lnTo>
                    <a:pt x="683303" y="518160"/>
                  </a:lnTo>
                  <a:lnTo>
                    <a:pt x="683229" y="471170"/>
                  </a:lnTo>
                  <a:lnTo>
                    <a:pt x="682742" y="454660"/>
                  </a:lnTo>
                  <a:lnTo>
                    <a:pt x="681808" y="434340"/>
                  </a:lnTo>
                  <a:lnTo>
                    <a:pt x="681749" y="433070"/>
                  </a:lnTo>
                  <a:lnTo>
                    <a:pt x="680370" y="412750"/>
                  </a:lnTo>
                  <a:lnTo>
                    <a:pt x="726951" y="412750"/>
                  </a:lnTo>
                  <a:lnTo>
                    <a:pt x="707576" y="396240"/>
                  </a:lnTo>
                  <a:lnTo>
                    <a:pt x="676695" y="373380"/>
                  </a:lnTo>
                  <a:lnTo>
                    <a:pt x="673668" y="349250"/>
                  </a:lnTo>
                  <a:lnTo>
                    <a:pt x="644287" y="349250"/>
                  </a:lnTo>
                  <a:lnTo>
                    <a:pt x="627005" y="337820"/>
                  </a:lnTo>
                  <a:lnTo>
                    <a:pt x="609364" y="326390"/>
                  </a:lnTo>
                  <a:lnTo>
                    <a:pt x="591391" y="316230"/>
                  </a:lnTo>
                  <a:lnTo>
                    <a:pt x="573106" y="304800"/>
                  </a:lnTo>
                  <a:lnTo>
                    <a:pt x="536140" y="284480"/>
                  </a:lnTo>
                  <a:lnTo>
                    <a:pt x="528145" y="280670"/>
                  </a:lnTo>
                  <a:close/>
                </a:path>
                <a:path w="922654" h="991870">
                  <a:moveTo>
                    <a:pt x="274319" y="412750"/>
                  </a:moveTo>
                  <a:lnTo>
                    <a:pt x="244917" y="412750"/>
                  </a:lnTo>
                  <a:lnTo>
                    <a:pt x="243638" y="431800"/>
                  </a:lnTo>
                  <a:lnTo>
                    <a:pt x="243553" y="433070"/>
                  </a:lnTo>
                  <a:lnTo>
                    <a:pt x="242186" y="467360"/>
                  </a:lnTo>
                  <a:lnTo>
                    <a:pt x="242072" y="471170"/>
                  </a:lnTo>
                  <a:lnTo>
                    <a:pt x="241959" y="474980"/>
                  </a:lnTo>
                  <a:lnTo>
                    <a:pt x="241839" y="487680"/>
                  </a:lnTo>
                  <a:lnTo>
                    <a:pt x="241755" y="496570"/>
                  </a:lnTo>
                  <a:lnTo>
                    <a:pt x="241956" y="516890"/>
                  </a:lnTo>
                  <a:lnTo>
                    <a:pt x="242555" y="538480"/>
                  </a:lnTo>
                  <a:lnTo>
                    <a:pt x="243544" y="560070"/>
                  </a:lnTo>
                  <a:lnTo>
                    <a:pt x="244917" y="580390"/>
                  </a:lnTo>
                  <a:lnTo>
                    <a:pt x="274330" y="580390"/>
                  </a:lnTo>
                  <a:lnTo>
                    <a:pt x="274098" y="577850"/>
                  </a:lnTo>
                  <a:lnTo>
                    <a:pt x="272423" y="551180"/>
                  </a:lnTo>
                  <a:lnTo>
                    <a:pt x="271406" y="523240"/>
                  </a:lnTo>
                  <a:lnTo>
                    <a:pt x="271063" y="496570"/>
                  </a:lnTo>
                  <a:lnTo>
                    <a:pt x="271172" y="487680"/>
                  </a:lnTo>
                  <a:lnTo>
                    <a:pt x="272423" y="441960"/>
                  </a:lnTo>
                  <a:lnTo>
                    <a:pt x="274098" y="415290"/>
                  </a:lnTo>
                  <a:lnTo>
                    <a:pt x="274319" y="412750"/>
                  </a:lnTo>
                  <a:close/>
                </a:path>
                <a:path w="922654" h="991870">
                  <a:moveTo>
                    <a:pt x="726951" y="412750"/>
                  </a:moveTo>
                  <a:lnTo>
                    <a:pt x="680370" y="412750"/>
                  </a:lnTo>
                  <a:lnTo>
                    <a:pt x="704925" y="431800"/>
                  </a:lnTo>
                  <a:lnTo>
                    <a:pt x="728705" y="452120"/>
                  </a:lnTo>
                  <a:lnTo>
                    <a:pt x="751686" y="473710"/>
                  </a:lnTo>
                  <a:lnTo>
                    <a:pt x="773844" y="496570"/>
                  </a:lnTo>
                  <a:lnTo>
                    <a:pt x="751686" y="518160"/>
                  </a:lnTo>
                  <a:lnTo>
                    <a:pt x="728705" y="539750"/>
                  </a:lnTo>
                  <a:lnTo>
                    <a:pt x="704925" y="561340"/>
                  </a:lnTo>
                  <a:lnTo>
                    <a:pt x="680370" y="580390"/>
                  </a:lnTo>
                  <a:lnTo>
                    <a:pt x="726966" y="580390"/>
                  </a:lnTo>
                  <a:lnTo>
                    <a:pt x="737393" y="571500"/>
                  </a:lnTo>
                  <a:lnTo>
                    <a:pt x="766067" y="546100"/>
                  </a:lnTo>
                  <a:lnTo>
                    <a:pt x="793581" y="518160"/>
                  </a:lnTo>
                  <a:lnTo>
                    <a:pt x="830408" y="518160"/>
                  </a:lnTo>
                  <a:lnTo>
                    <a:pt x="813476" y="496570"/>
                  </a:lnTo>
                  <a:lnTo>
                    <a:pt x="820785" y="487680"/>
                  </a:lnTo>
                  <a:lnTo>
                    <a:pt x="827880" y="478790"/>
                  </a:lnTo>
                  <a:lnTo>
                    <a:pt x="831319" y="474980"/>
                  </a:lnTo>
                  <a:lnTo>
                    <a:pt x="793613" y="474980"/>
                  </a:lnTo>
                  <a:lnTo>
                    <a:pt x="766077" y="447040"/>
                  </a:lnTo>
                  <a:lnTo>
                    <a:pt x="737384" y="421640"/>
                  </a:lnTo>
                  <a:lnTo>
                    <a:pt x="726951" y="412750"/>
                  </a:lnTo>
                  <a:close/>
                </a:path>
                <a:path w="922654" h="991870">
                  <a:moveTo>
                    <a:pt x="361644" y="212090"/>
                  </a:moveTo>
                  <a:lnTo>
                    <a:pt x="215637" y="212090"/>
                  </a:lnTo>
                  <a:lnTo>
                    <a:pt x="278246" y="220980"/>
                  </a:lnTo>
                  <a:lnTo>
                    <a:pt x="268371" y="257810"/>
                  </a:lnTo>
                  <a:lnTo>
                    <a:pt x="260130" y="295910"/>
                  </a:lnTo>
                  <a:lnTo>
                    <a:pt x="253537" y="334010"/>
                  </a:lnTo>
                  <a:lnTo>
                    <a:pt x="248603" y="373380"/>
                  </a:lnTo>
                  <a:lnTo>
                    <a:pt x="217716" y="396240"/>
                  </a:lnTo>
                  <a:lnTo>
                    <a:pt x="187905" y="421640"/>
                  </a:lnTo>
                  <a:lnTo>
                    <a:pt x="159211" y="447040"/>
                  </a:lnTo>
                  <a:lnTo>
                    <a:pt x="131675" y="474980"/>
                  </a:lnTo>
                  <a:lnTo>
                    <a:pt x="172381" y="474980"/>
                  </a:lnTo>
                  <a:lnTo>
                    <a:pt x="173612" y="473710"/>
                  </a:lnTo>
                  <a:lnTo>
                    <a:pt x="196592" y="452120"/>
                  </a:lnTo>
                  <a:lnTo>
                    <a:pt x="220369" y="431800"/>
                  </a:lnTo>
                  <a:lnTo>
                    <a:pt x="244917" y="412750"/>
                  </a:lnTo>
                  <a:lnTo>
                    <a:pt x="274319" y="412750"/>
                  </a:lnTo>
                  <a:lnTo>
                    <a:pt x="276414" y="388620"/>
                  </a:lnTo>
                  <a:lnTo>
                    <a:pt x="298065" y="373380"/>
                  </a:lnTo>
                  <a:lnTo>
                    <a:pt x="320402" y="359410"/>
                  </a:lnTo>
                  <a:lnTo>
                    <a:pt x="335712" y="349250"/>
                  </a:lnTo>
                  <a:lnTo>
                    <a:pt x="281011" y="349250"/>
                  </a:lnTo>
                  <a:lnTo>
                    <a:pt x="285766" y="318770"/>
                  </a:lnTo>
                  <a:lnTo>
                    <a:pt x="291686" y="288290"/>
                  </a:lnTo>
                  <a:lnTo>
                    <a:pt x="298760" y="257810"/>
                  </a:lnTo>
                  <a:lnTo>
                    <a:pt x="306978" y="227330"/>
                  </a:lnTo>
                  <a:lnTo>
                    <a:pt x="408603" y="227330"/>
                  </a:lnTo>
                  <a:lnTo>
                    <a:pt x="390393" y="220980"/>
                  </a:lnTo>
                  <a:lnTo>
                    <a:pt x="361644" y="212090"/>
                  </a:lnTo>
                  <a:close/>
                </a:path>
                <a:path w="922654" h="991870">
                  <a:moveTo>
                    <a:pt x="848026" y="335280"/>
                  </a:moveTo>
                  <a:lnTo>
                    <a:pt x="824622" y="344170"/>
                  </a:lnTo>
                  <a:lnTo>
                    <a:pt x="806072" y="360680"/>
                  </a:lnTo>
                  <a:lnTo>
                    <a:pt x="794911" y="383540"/>
                  </a:lnTo>
                  <a:lnTo>
                    <a:pt x="792911" y="400050"/>
                  </a:lnTo>
                  <a:lnTo>
                    <a:pt x="795214" y="416560"/>
                  </a:lnTo>
                  <a:lnTo>
                    <a:pt x="801598" y="431800"/>
                  </a:lnTo>
                  <a:lnTo>
                    <a:pt x="811843" y="445770"/>
                  </a:lnTo>
                  <a:lnTo>
                    <a:pt x="812900" y="445770"/>
                  </a:lnTo>
                  <a:lnTo>
                    <a:pt x="815151" y="448310"/>
                  </a:lnTo>
                  <a:lnTo>
                    <a:pt x="809978" y="454660"/>
                  </a:lnTo>
                  <a:lnTo>
                    <a:pt x="804665" y="461010"/>
                  </a:lnTo>
                  <a:lnTo>
                    <a:pt x="799210" y="468630"/>
                  </a:lnTo>
                  <a:lnTo>
                    <a:pt x="793613" y="474980"/>
                  </a:lnTo>
                  <a:lnTo>
                    <a:pt x="831319" y="474980"/>
                  </a:lnTo>
                  <a:lnTo>
                    <a:pt x="834758" y="471170"/>
                  </a:lnTo>
                  <a:lnTo>
                    <a:pt x="841412" y="462280"/>
                  </a:lnTo>
                  <a:lnTo>
                    <a:pt x="870400" y="462280"/>
                  </a:lnTo>
                  <a:lnTo>
                    <a:pt x="883033" y="459740"/>
                  </a:lnTo>
                  <a:lnTo>
                    <a:pt x="903658" y="445770"/>
                  </a:lnTo>
                  <a:lnTo>
                    <a:pt x="911015" y="434340"/>
                  </a:lnTo>
                  <a:lnTo>
                    <a:pt x="857764" y="434340"/>
                  </a:lnTo>
                  <a:lnTo>
                    <a:pt x="844379" y="431800"/>
                  </a:lnTo>
                  <a:lnTo>
                    <a:pt x="832606" y="424180"/>
                  </a:lnTo>
                  <a:lnTo>
                    <a:pt x="824798" y="412750"/>
                  </a:lnTo>
                  <a:lnTo>
                    <a:pt x="822200" y="398780"/>
                  </a:lnTo>
                  <a:lnTo>
                    <a:pt x="824810" y="386080"/>
                  </a:lnTo>
                  <a:lnTo>
                    <a:pt x="832627" y="374650"/>
                  </a:lnTo>
                  <a:lnTo>
                    <a:pt x="844398" y="367030"/>
                  </a:lnTo>
                  <a:lnTo>
                    <a:pt x="857788" y="363220"/>
                  </a:lnTo>
                  <a:lnTo>
                    <a:pt x="911749" y="363220"/>
                  </a:lnTo>
                  <a:lnTo>
                    <a:pt x="903662" y="353060"/>
                  </a:lnTo>
                  <a:lnTo>
                    <a:pt x="902594" y="353060"/>
                  </a:lnTo>
                  <a:lnTo>
                    <a:pt x="900311" y="350520"/>
                  </a:lnTo>
                  <a:lnTo>
                    <a:pt x="903012" y="336550"/>
                  </a:lnTo>
                  <a:lnTo>
                    <a:pt x="873746" y="336550"/>
                  </a:lnTo>
                  <a:lnTo>
                    <a:pt x="848026" y="335280"/>
                  </a:lnTo>
                  <a:close/>
                </a:path>
                <a:path w="922654" h="991870">
                  <a:moveTo>
                    <a:pt x="172754" y="182880"/>
                  </a:moveTo>
                  <a:lnTo>
                    <a:pt x="125721" y="187960"/>
                  </a:lnTo>
                  <a:lnTo>
                    <a:pt x="86320" y="200660"/>
                  </a:lnTo>
                  <a:lnTo>
                    <a:pt x="32945" y="248920"/>
                  </a:lnTo>
                  <a:lnTo>
                    <a:pt x="18944" y="294640"/>
                  </a:lnTo>
                  <a:lnTo>
                    <a:pt x="19067" y="304800"/>
                  </a:lnTo>
                  <a:lnTo>
                    <a:pt x="19191" y="314960"/>
                  </a:lnTo>
                  <a:lnTo>
                    <a:pt x="19252" y="320040"/>
                  </a:lnTo>
                  <a:lnTo>
                    <a:pt x="24411" y="347980"/>
                  </a:lnTo>
                  <a:lnTo>
                    <a:pt x="7667" y="368300"/>
                  </a:lnTo>
                  <a:lnTo>
                    <a:pt x="0" y="391160"/>
                  </a:lnTo>
                  <a:lnTo>
                    <a:pt x="1678" y="415290"/>
                  </a:lnTo>
                  <a:lnTo>
                    <a:pt x="1766" y="416560"/>
                  </a:lnTo>
                  <a:lnTo>
                    <a:pt x="13322" y="439420"/>
                  </a:lnTo>
                  <a:lnTo>
                    <a:pt x="27637" y="453390"/>
                  </a:lnTo>
                  <a:lnTo>
                    <a:pt x="44922" y="461010"/>
                  </a:lnTo>
                  <a:lnTo>
                    <a:pt x="63918" y="464820"/>
                  </a:lnTo>
                  <a:lnTo>
                    <a:pt x="83362" y="461010"/>
                  </a:lnTo>
                  <a:lnTo>
                    <a:pt x="119840" y="461010"/>
                  </a:lnTo>
                  <a:lnTo>
                    <a:pt x="114223" y="453390"/>
                  </a:lnTo>
                  <a:lnTo>
                    <a:pt x="108806" y="447040"/>
                  </a:lnTo>
                  <a:lnTo>
                    <a:pt x="109267" y="445770"/>
                  </a:lnTo>
                  <a:lnTo>
                    <a:pt x="110220" y="445770"/>
                  </a:lnTo>
                  <a:lnTo>
                    <a:pt x="117757" y="434340"/>
                  </a:lnTo>
                  <a:lnTo>
                    <a:pt x="57355" y="434340"/>
                  </a:lnTo>
                  <a:lnTo>
                    <a:pt x="50705" y="431800"/>
                  </a:lnTo>
                  <a:lnTo>
                    <a:pt x="44575" y="429260"/>
                  </a:lnTo>
                  <a:lnTo>
                    <a:pt x="39154" y="424180"/>
                  </a:lnTo>
                  <a:lnTo>
                    <a:pt x="31318" y="412750"/>
                  </a:lnTo>
                  <a:lnTo>
                    <a:pt x="28687" y="398780"/>
                  </a:lnTo>
                  <a:lnTo>
                    <a:pt x="31277" y="386080"/>
                  </a:lnTo>
                  <a:lnTo>
                    <a:pt x="39091" y="374650"/>
                  </a:lnTo>
                  <a:lnTo>
                    <a:pt x="50868" y="365760"/>
                  </a:lnTo>
                  <a:lnTo>
                    <a:pt x="64274" y="363220"/>
                  </a:lnTo>
                  <a:lnTo>
                    <a:pt x="116919" y="363220"/>
                  </a:lnTo>
                  <a:lnTo>
                    <a:pt x="110220" y="353060"/>
                  </a:lnTo>
                  <a:lnTo>
                    <a:pt x="97532" y="344170"/>
                  </a:lnTo>
                  <a:lnTo>
                    <a:pt x="83035" y="337820"/>
                  </a:lnTo>
                  <a:lnTo>
                    <a:pt x="72630" y="335280"/>
                  </a:lnTo>
                  <a:lnTo>
                    <a:pt x="51405" y="335280"/>
                  </a:lnTo>
                  <a:lnTo>
                    <a:pt x="48026" y="314960"/>
                  </a:lnTo>
                  <a:lnTo>
                    <a:pt x="58316" y="262890"/>
                  </a:lnTo>
                  <a:lnTo>
                    <a:pt x="115944" y="220980"/>
                  </a:lnTo>
                  <a:lnTo>
                    <a:pt x="161135" y="212090"/>
                  </a:lnTo>
                  <a:lnTo>
                    <a:pt x="361644" y="212090"/>
                  </a:lnTo>
                  <a:lnTo>
                    <a:pt x="353430" y="209550"/>
                  </a:lnTo>
                  <a:lnTo>
                    <a:pt x="315973" y="199390"/>
                  </a:lnTo>
                  <a:lnTo>
                    <a:pt x="318590" y="193040"/>
                  </a:lnTo>
                  <a:lnTo>
                    <a:pt x="287188" y="193040"/>
                  </a:lnTo>
                  <a:lnTo>
                    <a:pt x="226787" y="184150"/>
                  </a:lnTo>
                  <a:lnTo>
                    <a:pt x="172754" y="182880"/>
                  </a:lnTo>
                  <a:close/>
                </a:path>
                <a:path w="922654" h="991870">
                  <a:moveTo>
                    <a:pt x="870400" y="462280"/>
                  </a:moveTo>
                  <a:lnTo>
                    <a:pt x="841412" y="462280"/>
                  </a:lnTo>
                  <a:lnTo>
                    <a:pt x="852239" y="464820"/>
                  </a:lnTo>
                  <a:lnTo>
                    <a:pt x="857768" y="464820"/>
                  </a:lnTo>
                  <a:lnTo>
                    <a:pt x="870400" y="462280"/>
                  </a:lnTo>
                  <a:close/>
                </a:path>
                <a:path w="922654" h="991870">
                  <a:moveTo>
                    <a:pt x="116919" y="363220"/>
                  </a:moveTo>
                  <a:lnTo>
                    <a:pt x="64274" y="363220"/>
                  </a:lnTo>
                  <a:lnTo>
                    <a:pt x="77688" y="365760"/>
                  </a:lnTo>
                  <a:lnTo>
                    <a:pt x="89488" y="374650"/>
                  </a:lnTo>
                  <a:lnTo>
                    <a:pt x="97334" y="386080"/>
                  </a:lnTo>
                  <a:lnTo>
                    <a:pt x="99965" y="398780"/>
                  </a:lnTo>
                  <a:lnTo>
                    <a:pt x="97376" y="412750"/>
                  </a:lnTo>
                  <a:lnTo>
                    <a:pt x="89561" y="424180"/>
                  </a:lnTo>
                  <a:lnTo>
                    <a:pt x="84132" y="429260"/>
                  </a:lnTo>
                  <a:lnTo>
                    <a:pt x="77993" y="431800"/>
                  </a:lnTo>
                  <a:lnTo>
                    <a:pt x="71332" y="434340"/>
                  </a:lnTo>
                  <a:lnTo>
                    <a:pt x="117757" y="434340"/>
                  </a:lnTo>
                  <a:lnTo>
                    <a:pt x="124456" y="424180"/>
                  </a:lnTo>
                  <a:lnTo>
                    <a:pt x="129201" y="398780"/>
                  </a:lnTo>
                  <a:lnTo>
                    <a:pt x="124456" y="374650"/>
                  </a:lnTo>
                  <a:lnTo>
                    <a:pt x="116919" y="363220"/>
                  </a:lnTo>
                  <a:close/>
                </a:path>
                <a:path w="922654" h="991870">
                  <a:moveTo>
                    <a:pt x="911749" y="363220"/>
                  </a:moveTo>
                  <a:lnTo>
                    <a:pt x="857788" y="363220"/>
                  </a:lnTo>
                  <a:lnTo>
                    <a:pt x="871175" y="367030"/>
                  </a:lnTo>
                  <a:lnTo>
                    <a:pt x="882940" y="374650"/>
                  </a:lnTo>
                  <a:lnTo>
                    <a:pt x="890744" y="386080"/>
                  </a:lnTo>
                  <a:lnTo>
                    <a:pt x="893345" y="398780"/>
                  </a:lnTo>
                  <a:lnTo>
                    <a:pt x="890744" y="412750"/>
                  </a:lnTo>
                  <a:lnTo>
                    <a:pt x="882929" y="424180"/>
                  </a:lnTo>
                  <a:lnTo>
                    <a:pt x="871151" y="431800"/>
                  </a:lnTo>
                  <a:lnTo>
                    <a:pt x="857764" y="434340"/>
                  </a:lnTo>
                  <a:lnTo>
                    <a:pt x="911015" y="434340"/>
                  </a:lnTo>
                  <a:lnTo>
                    <a:pt x="917555" y="424180"/>
                  </a:lnTo>
                  <a:lnTo>
                    <a:pt x="922635" y="398780"/>
                  </a:lnTo>
                  <a:lnTo>
                    <a:pt x="921374" y="386080"/>
                  </a:lnTo>
                  <a:lnTo>
                    <a:pt x="917699" y="374650"/>
                  </a:lnTo>
                  <a:lnTo>
                    <a:pt x="911749" y="363220"/>
                  </a:lnTo>
                  <a:close/>
                </a:path>
                <a:path w="922654" h="991870">
                  <a:moveTo>
                    <a:pt x="408603" y="227330"/>
                  </a:moveTo>
                  <a:lnTo>
                    <a:pt x="306978" y="227330"/>
                  </a:lnTo>
                  <a:lnTo>
                    <a:pt x="337402" y="234950"/>
                  </a:lnTo>
                  <a:lnTo>
                    <a:pt x="367492" y="243840"/>
                  </a:lnTo>
                  <a:lnTo>
                    <a:pt x="397217" y="254000"/>
                  </a:lnTo>
                  <a:lnTo>
                    <a:pt x="426545" y="265430"/>
                  </a:lnTo>
                  <a:lnTo>
                    <a:pt x="407819" y="275590"/>
                  </a:lnTo>
                  <a:lnTo>
                    <a:pt x="389168" y="284480"/>
                  </a:lnTo>
                  <a:lnTo>
                    <a:pt x="352223" y="304800"/>
                  </a:lnTo>
                  <a:lnTo>
                    <a:pt x="333913" y="316230"/>
                  </a:lnTo>
                  <a:lnTo>
                    <a:pt x="315926" y="326390"/>
                  </a:lnTo>
                  <a:lnTo>
                    <a:pt x="298284" y="337820"/>
                  </a:lnTo>
                  <a:lnTo>
                    <a:pt x="281011" y="349250"/>
                  </a:lnTo>
                  <a:lnTo>
                    <a:pt x="335712" y="349250"/>
                  </a:lnTo>
                  <a:lnTo>
                    <a:pt x="343367" y="344170"/>
                  </a:lnTo>
                  <a:lnTo>
                    <a:pt x="366903" y="330200"/>
                  </a:lnTo>
                  <a:lnTo>
                    <a:pt x="438548" y="292100"/>
                  </a:lnTo>
                  <a:lnTo>
                    <a:pt x="462659" y="280670"/>
                  </a:lnTo>
                  <a:lnTo>
                    <a:pt x="528145" y="280670"/>
                  </a:lnTo>
                  <a:lnTo>
                    <a:pt x="517484" y="275590"/>
                  </a:lnTo>
                  <a:lnTo>
                    <a:pt x="498742" y="265430"/>
                  </a:lnTo>
                  <a:lnTo>
                    <a:pt x="528070" y="254000"/>
                  </a:lnTo>
                  <a:lnTo>
                    <a:pt x="542933" y="248920"/>
                  </a:lnTo>
                  <a:lnTo>
                    <a:pt x="462639" y="248920"/>
                  </a:lnTo>
                  <a:lnTo>
                    <a:pt x="426813" y="233680"/>
                  </a:lnTo>
                  <a:lnTo>
                    <a:pt x="408603" y="227330"/>
                  </a:lnTo>
                  <a:close/>
                </a:path>
                <a:path w="922654" h="991870">
                  <a:moveTo>
                    <a:pt x="648745" y="227330"/>
                  </a:moveTo>
                  <a:lnTo>
                    <a:pt x="618330" y="227330"/>
                  </a:lnTo>
                  <a:lnTo>
                    <a:pt x="626547" y="257810"/>
                  </a:lnTo>
                  <a:lnTo>
                    <a:pt x="633618" y="288290"/>
                  </a:lnTo>
                  <a:lnTo>
                    <a:pt x="639534" y="318770"/>
                  </a:lnTo>
                  <a:lnTo>
                    <a:pt x="644287" y="349250"/>
                  </a:lnTo>
                  <a:lnTo>
                    <a:pt x="673668" y="349250"/>
                  </a:lnTo>
                  <a:lnTo>
                    <a:pt x="671757" y="334010"/>
                  </a:lnTo>
                  <a:lnTo>
                    <a:pt x="665162" y="295910"/>
                  </a:lnTo>
                  <a:lnTo>
                    <a:pt x="656921" y="257810"/>
                  </a:lnTo>
                  <a:lnTo>
                    <a:pt x="648745" y="227330"/>
                  </a:lnTo>
                  <a:close/>
                </a:path>
                <a:path w="922654" h="991870">
                  <a:moveTo>
                    <a:pt x="856461" y="212090"/>
                  </a:moveTo>
                  <a:lnTo>
                    <a:pt x="764153" y="212090"/>
                  </a:lnTo>
                  <a:lnTo>
                    <a:pt x="809343" y="220980"/>
                  </a:lnTo>
                  <a:lnTo>
                    <a:pt x="844018" y="237490"/>
                  </a:lnTo>
                  <a:lnTo>
                    <a:pt x="866972" y="262890"/>
                  </a:lnTo>
                  <a:lnTo>
                    <a:pt x="873838" y="278130"/>
                  </a:lnTo>
                  <a:lnTo>
                    <a:pt x="877246" y="295910"/>
                  </a:lnTo>
                  <a:lnTo>
                    <a:pt x="877211" y="316230"/>
                  </a:lnTo>
                  <a:lnTo>
                    <a:pt x="873746" y="336550"/>
                  </a:lnTo>
                  <a:lnTo>
                    <a:pt x="903012" y="336550"/>
                  </a:lnTo>
                  <a:lnTo>
                    <a:pt x="905958" y="321310"/>
                  </a:lnTo>
                  <a:lnTo>
                    <a:pt x="906511" y="295910"/>
                  </a:lnTo>
                  <a:lnTo>
                    <a:pt x="906539" y="294640"/>
                  </a:lnTo>
                  <a:lnTo>
                    <a:pt x="902010" y="270510"/>
                  </a:lnTo>
                  <a:lnTo>
                    <a:pt x="892332" y="248920"/>
                  </a:lnTo>
                  <a:lnTo>
                    <a:pt x="870086" y="220980"/>
                  </a:lnTo>
                  <a:lnTo>
                    <a:pt x="856461" y="212090"/>
                  </a:lnTo>
                  <a:close/>
                </a:path>
                <a:path w="922654" h="991870">
                  <a:moveTo>
                    <a:pt x="67427" y="334010"/>
                  </a:moveTo>
                  <a:lnTo>
                    <a:pt x="51405" y="335280"/>
                  </a:lnTo>
                  <a:lnTo>
                    <a:pt x="72630" y="335280"/>
                  </a:lnTo>
                  <a:lnTo>
                    <a:pt x="67427" y="334010"/>
                  </a:lnTo>
                  <a:close/>
                </a:path>
                <a:path w="922654" h="991870">
                  <a:moveTo>
                    <a:pt x="537151" y="29210"/>
                  </a:moveTo>
                  <a:lnTo>
                    <a:pt x="462649" y="29210"/>
                  </a:lnTo>
                  <a:lnTo>
                    <a:pt x="495711" y="36830"/>
                  </a:lnTo>
                  <a:lnTo>
                    <a:pt x="527676" y="58420"/>
                  </a:lnTo>
                  <a:lnTo>
                    <a:pt x="557778" y="93980"/>
                  </a:lnTo>
                  <a:lnTo>
                    <a:pt x="585250" y="140970"/>
                  </a:lnTo>
                  <a:lnTo>
                    <a:pt x="609325" y="199390"/>
                  </a:lnTo>
                  <a:lnTo>
                    <a:pt x="571866" y="209550"/>
                  </a:lnTo>
                  <a:lnTo>
                    <a:pt x="534898" y="220980"/>
                  </a:lnTo>
                  <a:lnTo>
                    <a:pt x="498472" y="233680"/>
                  </a:lnTo>
                  <a:lnTo>
                    <a:pt x="462639" y="248920"/>
                  </a:lnTo>
                  <a:lnTo>
                    <a:pt x="542933" y="248920"/>
                  </a:lnTo>
                  <a:lnTo>
                    <a:pt x="557795" y="243840"/>
                  </a:lnTo>
                  <a:lnTo>
                    <a:pt x="587885" y="234950"/>
                  </a:lnTo>
                  <a:lnTo>
                    <a:pt x="618309" y="227330"/>
                  </a:lnTo>
                  <a:lnTo>
                    <a:pt x="648745" y="227330"/>
                  </a:lnTo>
                  <a:lnTo>
                    <a:pt x="647041" y="220980"/>
                  </a:lnTo>
                  <a:lnTo>
                    <a:pt x="709651" y="212090"/>
                  </a:lnTo>
                  <a:lnTo>
                    <a:pt x="856461" y="212090"/>
                  </a:lnTo>
                  <a:lnTo>
                    <a:pt x="838942" y="200660"/>
                  </a:lnTo>
                  <a:lnTo>
                    <a:pt x="815298" y="193040"/>
                  </a:lnTo>
                  <a:lnTo>
                    <a:pt x="638078" y="193040"/>
                  </a:lnTo>
                  <a:lnTo>
                    <a:pt x="615504" y="135890"/>
                  </a:lnTo>
                  <a:lnTo>
                    <a:pt x="589704" y="88900"/>
                  </a:lnTo>
                  <a:lnTo>
                    <a:pt x="561099" y="50800"/>
                  </a:lnTo>
                  <a:lnTo>
                    <a:pt x="537151" y="29210"/>
                  </a:lnTo>
                  <a:close/>
                </a:path>
                <a:path w="922654" h="991870">
                  <a:moveTo>
                    <a:pt x="462649" y="0"/>
                  </a:moveTo>
                  <a:lnTo>
                    <a:pt x="395187" y="22860"/>
                  </a:lnTo>
                  <a:lnTo>
                    <a:pt x="364195" y="50800"/>
                  </a:lnTo>
                  <a:lnTo>
                    <a:pt x="335587" y="88900"/>
                  </a:lnTo>
                  <a:lnTo>
                    <a:pt x="309779" y="135890"/>
                  </a:lnTo>
                  <a:lnTo>
                    <a:pt x="287188" y="193040"/>
                  </a:lnTo>
                  <a:lnTo>
                    <a:pt x="318590" y="193040"/>
                  </a:lnTo>
                  <a:lnTo>
                    <a:pt x="340052" y="140970"/>
                  </a:lnTo>
                  <a:lnTo>
                    <a:pt x="367524" y="92710"/>
                  </a:lnTo>
                  <a:lnTo>
                    <a:pt x="397625" y="58420"/>
                  </a:lnTo>
                  <a:lnTo>
                    <a:pt x="429589" y="36830"/>
                  </a:lnTo>
                  <a:lnTo>
                    <a:pt x="462649" y="29210"/>
                  </a:lnTo>
                  <a:lnTo>
                    <a:pt x="537151" y="29210"/>
                  </a:lnTo>
                  <a:lnTo>
                    <a:pt x="530108" y="22860"/>
                  </a:lnTo>
                  <a:lnTo>
                    <a:pt x="497151" y="6350"/>
                  </a:lnTo>
                  <a:lnTo>
                    <a:pt x="462649" y="0"/>
                  </a:lnTo>
                  <a:close/>
                </a:path>
                <a:path w="922654" h="991870">
                  <a:moveTo>
                    <a:pt x="752499" y="182880"/>
                  </a:moveTo>
                  <a:lnTo>
                    <a:pt x="698469" y="184150"/>
                  </a:lnTo>
                  <a:lnTo>
                    <a:pt x="638078" y="193040"/>
                  </a:lnTo>
                  <a:lnTo>
                    <a:pt x="815298" y="193040"/>
                  </a:lnTo>
                  <a:lnTo>
                    <a:pt x="799535" y="187960"/>
                  </a:lnTo>
                  <a:lnTo>
                    <a:pt x="752499" y="182880"/>
                  </a:lnTo>
                  <a:close/>
                </a:path>
              </a:pathLst>
            </a:custGeom>
            <a:solidFill>
              <a:srgbClr val="6400FF"/>
            </a:solidFill>
          </p:spPr>
          <p:txBody>
            <a:bodyPr wrap="square" lIns="0" tIns="0" rIns="0" bIns="0" rtlCol="0"/>
            <a:lstStyle/>
            <a:p>
              <a:endParaRPr sz="372"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</p:grpSp>
      <p:sp>
        <p:nvSpPr>
          <p:cNvPr id="111" name="object 34">
            <a:extLst>
              <a:ext uri="{FF2B5EF4-FFF2-40B4-BE49-F238E27FC236}">
                <a16:creationId xmlns:a16="http://schemas.microsoft.com/office/drawing/2014/main" id="{326BA898-94B5-ECA0-04A7-C483F0FFC799}"/>
              </a:ext>
            </a:extLst>
          </p:cNvPr>
          <p:cNvSpPr/>
          <p:nvPr/>
        </p:nvSpPr>
        <p:spPr>
          <a:xfrm flipH="1">
            <a:off x="7582085" y="2998909"/>
            <a:ext cx="379192" cy="465832"/>
          </a:xfrm>
          <a:custGeom>
            <a:avLst/>
            <a:gdLst/>
            <a:ahLst/>
            <a:cxnLst/>
            <a:rect l="l" t="t" r="r" b="b"/>
            <a:pathLst>
              <a:path w="833754" h="1024254">
                <a:moveTo>
                  <a:pt x="311137" y="147853"/>
                </a:moveTo>
                <a:lnTo>
                  <a:pt x="304419" y="141097"/>
                </a:lnTo>
                <a:lnTo>
                  <a:pt x="296125" y="141097"/>
                </a:lnTo>
                <a:lnTo>
                  <a:pt x="267741" y="141097"/>
                </a:lnTo>
                <a:lnTo>
                  <a:pt x="261023" y="147853"/>
                </a:lnTo>
                <a:lnTo>
                  <a:pt x="261023" y="164503"/>
                </a:lnTo>
                <a:lnTo>
                  <a:pt x="267741" y="171259"/>
                </a:lnTo>
                <a:lnTo>
                  <a:pt x="304419" y="171259"/>
                </a:lnTo>
                <a:lnTo>
                  <a:pt x="311137" y="164503"/>
                </a:lnTo>
                <a:lnTo>
                  <a:pt x="311137" y="147853"/>
                </a:lnTo>
                <a:close/>
              </a:path>
              <a:path w="833754" h="1024254">
                <a:moveTo>
                  <a:pt x="347891" y="236931"/>
                </a:moveTo>
                <a:lnTo>
                  <a:pt x="342023" y="231038"/>
                </a:lnTo>
                <a:lnTo>
                  <a:pt x="336169" y="225158"/>
                </a:lnTo>
                <a:lnTo>
                  <a:pt x="326656" y="225158"/>
                </a:lnTo>
                <a:lnTo>
                  <a:pt x="300723" y="251180"/>
                </a:lnTo>
                <a:lnTo>
                  <a:pt x="300723" y="260731"/>
                </a:lnTo>
                <a:lnTo>
                  <a:pt x="309524" y="269557"/>
                </a:lnTo>
                <a:lnTo>
                  <a:pt x="313372" y="271030"/>
                </a:lnTo>
                <a:lnTo>
                  <a:pt x="321056" y="271030"/>
                </a:lnTo>
                <a:lnTo>
                  <a:pt x="324891" y="269557"/>
                </a:lnTo>
                <a:lnTo>
                  <a:pt x="347891" y="246468"/>
                </a:lnTo>
                <a:lnTo>
                  <a:pt x="347891" y="236931"/>
                </a:lnTo>
                <a:close/>
              </a:path>
              <a:path w="833754" h="1024254">
                <a:moveTo>
                  <a:pt x="347891" y="65887"/>
                </a:moveTo>
                <a:lnTo>
                  <a:pt x="342023" y="60007"/>
                </a:lnTo>
                <a:lnTo>
                  <a:pt x="321970" y="39865"/>
                </a:lnTo>
                <a:lnTo>
                  <a:pt x="312458" y="39865"/>
                </a:lnTo>
                <a:lnTo>
                  <a:pt x="300723" y="51638"/>
                </a:lnTo>
                <a:lnTo>
                  <a:pt x="300723" y="61188"/>
                </a:lnTo>
                <a:lnTo>
                  <a:pt x="323723" y="84264"/>
                </a:lnTo>
                <a:lnTo>
                  <a:pt x="327571" y="85737"/>
                </a:lnTo>
                <a:lnTo>
                  <a:pt x="335254" y="85737"/>
                </a:lnTo>
                <a:lnTo>
                  <a:pt x="339090" y="84264"/>
                </a:lnTo>
                <a:lnTo>
                  <a:pt x="347891" y="75438"/>
                </a:lnTo>
                <a:lnTo>
                  <a:pt x="347891" y="65887"/>
                </a:lnTo>
                <a:close/>
              </a:path>
              <a:path w="833754" h="1024254">
                <a:moveTo>
                  <a:pt x="431609" y="268808"/>
                </a:moveTo>
                <a:lnTo>
                  <a:pt x="424891" y="262051"/>
                </a:lnTo>
                <a:lnTo>
                  <a:pt x="416598" y="262051"/>
                </a:lnTo>
                <a:lnTo>
                  <a:pt x="408305" y="262051"/>
                </a:lnTo>
                <a:lnTo>
                  <a:pt x="401586" y="268808"/>
                </a:lnTo>
                <a:lnTo>
                  <a:pt x="401586" y="305612"/>
                </a:lnTo>
                <a:lnTo>
                  <a:pt x="408305" y="312356"/>
                </a:lnTo>
                <a:lnTo>
                  <a:pt x="424891" y="312356"/>
                </a:lnTo>
                <a:lnTo>
                  <a:pt x="431609" y="305612"/>
                </a:lnTo>
                <a:lnTo>
                  <a:pt x="431609" y="268808"/>
                </a:lnTo>
                <a:close/>
              </a:path>
              <a:path w="833754" h="1024254">
                <a:moveTo>
                  <a:pt x="431609" y="6756"/>
                </a:moveTo>
                <a:lnTo>
                  <a:pt x="424891" y="0"/>
                </a:lnTo>
                <a:lnTo>
                  <a:pt x="416598" y="0"/>
                </a:lnTo>
                <a:lnTo>
                  <a:pt x="408305" y="0"/>
                </a:lnTo>
                <a:lnTo>
                  <a:pt x="401586" y="6756"/>
                </a:lnTo>
                <a:lnTo>
                  <a:pt x="401586" y="43561"/>
                </a:lnTo>
                <a:lnTo>
                  <a:pt x="408305" y="50317"/>
                </a:lnTo>
                <a:lnTo>
                  <a:pt x="424891" y="50317"/>
                </a:lnTo>
                <a:lnTo>
                  <a:pt x="431609" y="43561"/>
                </a:lnTo>
                <a:lnTo>
                  <a:pt x="431609" y="6756"/>
                </a:lnTo>
                <a:close/>
              </a:path>
              <a:path w="833754" h="1024254">
                <a:moveTo>
                  <a:pt x="491845" y="156184"/>
                </a:moveTo>
                <a:lnTo>
                  <a:pt x="485927" y="126809"/>
                </a:lnTo>
                <a:lnTo>
                  <a:pt x="475157" y="110782"/>
                </a:lnTo>
                <a:lnTo>
                  <a:pt x="469785" y="102793"/>
                </a:lnTo>
                <a:lnTo>
                  <a:pt x="461822" y="97409"/>
                </a:lnTo>
                <a:lnTo>
                  <a:pt x="461822" y="156184"/>
                </a:lnTo>
                <a:lnTo>
                  <a:pt x="458266" y="173837"/>
                </a:lnTo>
                <a:lnTo>
                  <a:pt x="448564" y="188264"/>
                </a:lnTo>
                <a:lnTo>
                  <a:pt x="434187" y="198005"/>
                </a:lnTo>
                <a:lnTo>
                  <a:pt x="416598" y="201574"/>
                </a:lnTo>
                <a:lnTo>
                  <a:pt x="399008" y="198005"/>
                </a:lnTo>
                <a:lnTo>
                  <a:pt x="384632" y="188264"/>
                </a:lnTo>
                <a:lnTo>
                  <a:pt x="374929" y="173837"/>
                </a:lnTo>
                <a:lnTo>
                  <a:pt x="371373" y="156184"/>
                </a:lnTo>
                <a:lnTo>
                  <a:pt x="374929" y="138531"/>
                </a:lnTo>
                <a:lnTo>
                  <a:pt x="384632" y="124091"/>
                </a:lnTo>
                <a:lnTo>
                  <a:pt x="399008" y="114350"/>
                </a:lnTo>
                <a:lnTo>
                  <a:pt x="416598" y="110782"/>
                </a:lnTo>
                <a:lnTo>
                  <a:pt x="434187" y="114350"/>
                </a:lnTo>
                <a:lnTo>
                  <a:pt x="448564" y="124091"/>
                </a:lnTo>
                <a:lnTo>
                  <a:pt x="458266" y="138531"/>
                </a:lnTo>
                <a:lnTo>
                  <a:pt x="461822" y="156184"/>
                </a:lnTo>
                <a:lnTo>
                  <a:pt x="461822" y="97409"/>
                </a:lnTo>
                <a:lnTo>
                  <a:pt x="445858" y="86588"/>
                </a:lnTo>
                <a:lnTo>
                  <a:pt x="416598" y="80632"/>
                </a:lnTo>
                <a:lnTo>
                  <a:pt x="387337" y="86588"/>
                </a:lnTo>
                <a:lnTo>
                  <a:pt x="363410" y="102793"/>
                </a:lnTo>
                <a:lnTo>
                  <a:pt x="347268" y="126809"/>
                </a:lnTo>
                <a:lnTo>
                  <a:pt x="341337" y="156184"/>
                </a:lnTo>
                <a:lnTo>
                  <a:pt x="347268" y="185559"/>
                </a:lnTo>
                <a:lnTo>
                  <a:pt x="363410" y="209575"/>
                </a:lnTo>
                <a:lnTo>
                  <a:pt x="387337" y="225780"/>
                </a:lnTo>
                <a:lnTo>
                  <a:pt x="416598" y="231736"/>
                </a:lnTo>
                <a:lnTo>
                  <a:pt x="445858" y="225780"/>
                </a:lnTo>
                <a:lnTo>
                  <a:pt x="469785" y="209575"/>
                </a:lnTo>
                <a:lnTo>
                  <a:pt x="475157" y="201574"/>
                </a:lnTo>
                <a:lnTo>
                  <a:pt x="485927" y="185559"/>
                </a:lnTo>
                <a:lnTo>
                  <a:pt x="491845" y="156184"/>
                </a:lnTo>
                <a:close/>
              </a:path>
              <a:path w="833754" h="1024254">
                <a:moveTo>
                  <a:pt x="532472" y="251180"/>
                </a:moveTo>
                <a:lnTo>
                  <a:pt x="526605" y="245300"/>
                </a:lnTo>
                <a:lnTo>
                  <a:pt x="506539" y="225158"/>
                </a:lnTo>
                <a:lnTo>
                  <a:pt x="497039" y="225158"/>
                </a:lnTo>
                <a:lnTo>
                  <a:pt x="485305" y="236931"/>
                </a:lnTo>
                <a:lnTo>
                  <a:pt x="485305" y="246481"/>
                </a:lnTo>
                <a:lnTo>
                  <a:pt x="508292" y="269557"/>
                </a:lnTo>
                <a:lnTo>
                  <a:pt x="512140" y="271030"/>
                </a:lnTo>
                <a:lnTo>
                  <a:pt x="519836" y="271030"/>
                </a:lnTo>
                <a:lnTo>
                  <a:pt x="523671" y="269557"/>
                </a:lnTo>
                <a:lnTo>
                  <a:pt x="532472" y="260731"/>
                </a:lnTo>
                <a:lnTo>
                  <a:pt x="532472" y="251180"/>
                </a:lnTo>
                <a:close/>
              </a:path>
              <a:path w="833754" h="1024254">
                <a:moveTo>
                  <a:pt x="532472" y="51625"/>
                </a:moveTo>
                <a:lnTo>
                  <a:pt x="526605" y="45745"/>
                </a:lnTo>
                <a:lnTo>
                  <a:pt x="520738" y="39865"/>
                </a:lnTo>
                <a:lnTo>
                  <a:pt x="511238" y="39865"/>
                </a:lnTo>
                <a:lnTo>
                  <a:pt x="485305" y="65887"/>
                </a:lnTo>
                <a:lnTo>
                  <a:pt x="485305" y="75438"/>
                </a:lnTo>
                <a:lnTo>
                  <a:pt x="494106" y="84264"/>
                </a:lnTo>
                <a:lnTo>
                  <a:pt x="497941" y="85737"/>
                </a:lnTo>
                <a:lnTo>
                  <a:pt x="505637" y="85737"/>
                </a:lnTo>
                <a:lnTo>
                  <a:pt x="509473" y="84264"/>
                </a:lnTo>
                <a:lnTo>
                  <a:pt x="532472" y="61175"/>
                </a:lnTo>
                <a:lnTo>
                  <a:pt x="532472" y="51625"/>
                </a:lnTo>
                <a:close/>
              </a:path>
              <a:path w="833754" h="1024254">
                <a:moveTo>
                  <a:pt x="572173" y="147866"/>
                </a:moveTo>
                <a:lnTo>
                  <a:pt x="565442" y="141109"/>
                </a:lnTo>
                <a:lnTo>
                  <a:pt x="557149" y="141109"/>
                </a:lnTo>
                <a:lnTo>
                  <a:pt x="528777" y="141109"/>
                </a:lnTo>
                <a:lnTo>
                  <a:pt x="522058" y="147866"/>
                </a:lnTo>
                <a:lnTo>
                  <a:pt x="522058" y="164515"/>
                </a:lnTo>
                <a:lnTo>
                  <a:pt x="528777" y="171259"/>
                </a:lnTo>
                <a:lnTo>
                  <a:pt x="565442" y="171259"/>
                </a:lnTo>
                <a:lnTo>
                  <a:pt x="572173" y="164515"/>
                </a:lnTo>
                <a:lnTo>
                  <a:pt x="572173" y="147866"/>
                </a:lnTo>
                <a:close/>
              </a:path>
              <a:path w="833754" h="1024254">
                <a:moveTo>
                  <a:pt x="833183" y="818362"/>
                </a:moveTo>
                <a:lnTo>
                  <a:pt x="833081" y="770928"/>
                </a:lnTo>
                <a:lnTo>
                  <a:pt x="809929" y="660374"/>
                </a:lnTo>
                <a:lnTo>
                  <a:pt x="803160" y="628116"/>
                </a:lnTo>
                <a:lnTo>
                  <a:pt x="803160" y="788035"/>
                </a:lnTo>
                <a:lnTo>
                  <a:pt x="803160" y="818362"/>
                </a:lnTo>
                <a:lnTo>
                  <a:pt x="431698" y="818362"/>
                </a:lnTo>
                <a:lnTo>
                  <a:pt x="431698" y="848525"/>
                </a:lnTo>
                <a:lnTo>
                  <a:pt x="431698" y="933221"/>
                </a:lnTo>
                <a:lnTo>
                  <a:pt x="401497" y="933221"/>
                </a:lnTo>
                <a:lnTo>
                  <a:pt x="401497" y="848525"/>
                </a:lnTo>
                <a:lnTo>
                  <a:pt x="431698" y="848525"/>
                </a:lnTo>
                <a:lnTo>
                  <a:pt x="431698" y="818362"/>
                </a:lnTo>
                <a:lnTo>
                  <a:pt x="30022" y="818362"/>
                </a:lnTo>
                <a:lnTo>
                  <a:pt x="30022" y="788035"/>
                </a:lnTo>
                <a:lnTo>
                  <a:pt x="109867" y="788035"/>
                </a:lnTo>
                <a:lnTo>
                  <a:pt x="116586" y="781291"/>
                </a:lnTo>
                <a:lnTo>
                  <a:pt x="116586" y="764641"/>
                </a:lnTo>
                <a:lnTo>
                  <a:pt x="109867" y="757897"/>
                </a:lnTo>
                <a:lnTo>
                  <a:pt x="33515" y="757897"/>
                </a:lnTo>
                <a:lnTo>
                  <a:pt x="53962" y="660374"/>
                </a:lnTo>
                <a:lnTo>
                  <a:pt x="275551" y="660374"/>
                </a:lnTo>
                <a:lnTo>
                  <a:pt x="268732" y="757897"/>
                </a:lnTo>
                <a:lnTo>
                  <a:pt x="158203" y="757897"/>
                </a:lnTo>
                <a:lnTo>
                  <a:pt x="151498" y="764641"/>
                </a:lnTo>
                <a:lnTo>
                  <a:pt x="151498" y="781291"/>
                </a:lnTo>
                <a:lnTo>
                  <a:pt x="158216" y="788035"/>
                </a:lnTo>
                <a:lnTo>
                  <a:pt x="803160" y="788035"/>
                </a:lnTo>
                <a:lnTo>
                  <a:pt x="803160" y="628116"/>
                </a:lnTo>
                <a:lnTo>
                  <a:pt x="799680" y="611517"/>
                </a:lnTo>
                <a:lnTo>
                  <a:pt x="799680" y="757897"/>
                </a:lnTo>
                <a:lnTo>
                  <a:pt x="564464" y="757897"/>
                </a:lnTo>
                <a:lnTo>
                  <a:pt x="557644" y="660374"/>
                </a:lnTo>
                <a:lnTo>
                  <a:pt x="779233" y="660374"/>
                </a:lnTo>
                <a:lnTo>
                  <a:pt x="799680" y="757897"/>
                </a:lnTo>
                <a:lnTo>
                  <a:pt x="799680" y="611517"/>
                </a:lnTo>
                <a:lnTo>
                  <a:pt x="783158" y="532714"/>
                </a:lnTo>
                <a:lnTo>
                  <a:pt x="776833" y="502564"/>
                </a:lnTo>
                <a:lnTo>
                  <a:pt x="772909" y="483870"/>
                </a:lnTo>
                <a:lnTo>
                  <a:pt x="772909" y="630224"/>
                </a:lnTo>
                <a:lnTo>
                  <a:pt x="555536" y="630224"/>
                </a:lnTo>
                <a:lnTo>
                  <a:pt x="548728" y="532714"/>
                </a:lnTo>
                <a:lnTo>
                  <a:pt x="752449" y="532714"/>
                </a:lnTo>
                <a:lnTo>
                  <a:pt x="772909" y="630224"/>
                </a:lnTo>
                <a:lnTo>
                  <a:pt x="772909" y="483870"/>
                </a:lnTo>
                <a:lnTo>
                  <a:pt x="756373" y="405041"/>
                </a:lnTo>
                <a:lnTo>
                  <a:pt x="751103" y="379895"/>
                </a:lnTo>
                <a:lnTo>
                  <a:pt x="746137" y="375856"/>
                </a:lnTo>
                <a:lnTo>
                  <a:pt x="746137" y="502564"/>
                </a:lnTo>
                <a:lnTo>
                  <a:pt x="546608" y="502564"/>
                </a:lnTo>
                <a:lnTo>
                  <a:pt x="539788" y="405041"/>
                </a:lnTo>
                <a:lnTo>
                  <a:pt x="725678" y="405041"/>
                </a:lnTo>
                <a:lnTo>
                  <a:pt x="746137" y="502564"/>
                </a:lnTo>
                <a:lnTo>
                  <a:pt x="746137" y="375856"/>
                </a:lnTo>
                <a:lnTo>
                  <a:pt x="744969" y="374904"/>
                </a:lnTo>
                <a:lnTo>
                  <a:pt x="534352" y="374904"/>
                </a:lnTo>
                <a:lnTo>
                  <a:pt x="534352" y="757897"/>
                </a:lnTo>
                <a:lnTo>
                  <a:pt x="298843" y="757897"/>
                </a:lnTo>
                <a:lnTo>
                  <a:pt x="305663" y="660374"/>
                </a:lnTo>
                <a:lnTo>
                  <a:pt x="527545" y="660374"/>
                </a:lnTo>
                <a:lnTo>
                  <a:pt x="534352" y="757897"/>
                </a:lnTo>
                <a:lnTo>
                  <a:pt x="534352" y="374904"/>
                </a:lnTo>
                <a:lnTo>
                  <a:pt x="525424" y="374904"/>
                </a:lnTo>
                <a:lnTo>
                  <a:pt x="525424" y="630224"/>
                </a:lnTo>
                <a:lnTo>
                  <a:pt x="307771" y="630224"/>
                </a:lnTo>
                <a:lnTo>
                  <a:pt x="314579" y="532714"/>
                </a:lnTo>
                <a:lnTo>
                  <a:pt x="518604" y="532714"/>
                </a:lnTo>
                <a:lnTo>
                  <a:pt x="525424" y="630224"/>
                </a:lnTo>
                <a:lnTo>
                  <a:pt x="525424" y="374904"/>
                </a:lnTo>
                <a:lnTo>
                  <a:pt x="516509" y="374904"/>
                </a:lnTo>
                <a:lnTo>
                  <a:pt x="516509" y="502564"/>
                </a:lnTo>
                <a:lnTo>
                  <a:pt x="316687" y="502564"/>
                </a:lnTo>
                <a:lnTo>
                  <a:pt x="323507" y="405041"/>
                </a:lnTo>
                <a:lnTo>
                  <a:pt x="509689" y="405041"/>
                </a:lnTo>
                <a:lnTo>
                  <a:pt x="516509" y="502564"/>
                </a:lnTo>
                <a:lnTo>
                  <a:pt x="516509" y="374904"/>
                </a:lnTo>
                <a:lnTo>
                  <a:pt x="293395" y="374904"/>
                </a:lnTo>
                <a:lnTo>
                  <a:pt x="293395" y="405041"/>
                </a:lnTo>
                <a:lnTo>
                  <a:pt x="286575" y="502564"/>
                </a:lnTo>
                <a:lnTo>
                  <a:pt x="284467" y="502564"/>
                </a:lnTo>
                <a:lnTo>
                  <a:pt x="284467" y="532714"/>
                </a:lnTo>
                <a:lnTo>
                  <a:pt x="277647" y="630224"/>
                </a:lnTo>
                <a:lnTo>
                  <a:pt x="60286" y="630224"/>
                </a:lnTo>
                <a:lnTo>
                  <a:pt x="80733" y="532714"/>
                </a:lnTo>
                <a:lnTo>
                  <a:pt x="284467" y="532714"/>
                </a:lnTo>
                <a:lnTo>
                  <a:pt x="284467" y="502564"/>
                </a:lnTo>
                <a:lnTo>
                  <a:pt x="87058" y="502564"/>
                </a:lnTo>
                <a:lnTo>
                  <a:pt x="107505" y="405041"/>
                </a:lnTo>
                <a:lnTo>
                  <a:pt x="293395" y="405041"/>
                </a:lnTo>
                <a:lnTo>
                  <a:pt x="293395" y="374904"/>
                </a:lnTo>
                <a:lnTo>
                  <a:pt x="88214" y="374904"/>
                </a:lnTo>
                <a:lnTo>
                  <a:pt x="82092" y="379895"/>
                </a:lnTo>
                <a:lnTo>
                  <a:pt x="317" y="769835"/>
                </a:lnTo>
                <a:lnTo>
                  <a:pt x="203" y="770407"/>
                </a:lnTo>
                <a:lnTo>
                  <a:pt x="127" y="770928"/>
                </a:lnTo>
                <a:lnTo>
                  <a:pt x="0" y="841768"/>
                </a:lnTo>
                <a:lnTo>
                  <a:pt x="6731" y="848525"/>
                </a:lnTo>
                <a:lnTo>
                  <a:pt x="371449" y="848525"/>
                </a:lnTo>
                <a:lnTo>
                  <a:pt x="371449" y="933221"/>
                </a:lnTo>
                <a:lnTo>
                  <a:pt x="247637" y="933221"/>
                </a:lnTo>
                <a:lnTo>
                  <a:pt x="240944" y="939965"/>
                </a:lnTo>
                <a:lnTo>
                  <a:pt x="240944" y="993686"/>
                </a:lnTo>
                <a:lnTo>
                  <a:pt x="87020" y="993686"/>
                </a:lnTo>
                <a:lnTo>
                  <a:pt x="80302" y="1000442"/>
                </a:lnTo>
                <a:lnTo>
                  <a:pt x="80302" y="1017092"/>
                </a:lnTo>
                <a:lnTo>
                  <a:pt x="87033" y="1023848"/>
                </a:lnTo>
                <a:lnTo>
                  <a:pt x="746137" y="1023848"/>
                </a:lnTo>
                <a:lnTo>
                  <a:pt x="752868" y="1017092"/>
                </a:lnTo>
                <a:lnTo>
                  <a:pt x="752868" y="1000442"/>
                </a:lnTo>
                <a:lnTo>
                  <a:pt x="746137" y="993686"/>
                </a:lnTo>
                <a:lnTo>
                  <a:pt x="592251" y="993686"/>
                </a:lnTo>
                <a:lnTo>
                  <a:pt x="592251" y="963371"/>
                </a:lnTo>
                <a:lnTo>
                  <a:pt x="592251" y="939965"/>
                </a:lnTo>
                <a:lnTo>
                  <a:pt x="585533" y="933221"/>
                </a:lnTo>
                <a:lnTo>
                  <a:pt x="562216" y="933221"/>
                </a:lnTo>
                <a:lnTo>
                  <a:pt x="562216" y="963371"/>
                </a:lnTo>
                <a:lnTo>
                  <a:pt x="562216" y="993686"/>
                </a:lnTo>
                <a:lnTo>
                  <a:pt x="270967" y="993686"/>
                </a:lnTo>
                <a:lnTo>
                  <a:pt x="270967" y="963371"/>
                </a:lnTo>
                <a:lnTo>
                  <a:pt x="562216" y="963371"/>
                </a:lnTo>
                <a:lnTo>
                  <a:pt x="562216" y="933221"/>
                </a:lnTo>
                <a:lnTo>
                  <a:pt x="461733" y="933221"/>
                </a:lnTo>
                <a:lnTo>
                  <a:pt x="461733" y="848525"/>
                </a:lnTo>
                <a:lnTo>
                  <a:pt x="826465" y="848525"/>
                </a:lnTo>
                <a:lnTo>
                  <a:pt x="833183" y="841768"/>
                </a:lnTo>
                <a:lnTo>
                  <a:pt x="833183" y="818362"/>
                </a:lnTo>
                <a:close/>
              </a:path>
            </a:pathLst>
          </a:custGeom>
          <a:solidFill>
            <a:srgbClr val="6400FF"/>
          </a:solidFill>
        </p:spPr>
        <p:txBody>
          <a:bodyPr wrap="square" lIns="0" tIns="0" rIns="0" bIns="0" rtlCol="0"/>
          <a:lstStyle/>
          <a:p>
            <a:endParaRPr sz="372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grpSp>
        <p:nvGrpSpPr>
          <p:cNvPr id="112" name="object 35">
            <a:extLst>
              <a:ext uri="{FF2B5EF4-FFF2-40B4-BE49-F238E27FC236}">
                <a16:creationId xmlns:a16="http://schemas.microsoft.com/office/drawing/2014/main" id="{2858B223-EBCD-E3F9-5253-9B52C58BF55C}"/>
              </a:ext>
            </a:extLst>
          </p:cNvPr>
          <p:cNvGrpSpPr/>
          <p:nvPr/>
        </p:nvGrpSpPr>
        <p:grpSpPr>
          <a:xfrm flipH="1">
            <a:off x="4932401" y="1223268"/>
            <a:ext cx="427999" cy="427999"/>
            <a:chOff x="8409951" y="2689678"/>
            <a:chExt cx="941069" cy="941069"/>
          </a:xfrm>
        </p:grpSpPr>
        <p:sp>
          <p:nvSpPr>
            <p:cNvPr id="113" name="object 36">
              <a:extLst>
                <a:ext uri="{FF2B5EF4-FFF2-40B4-BE49-F238E27FC236}">
                  <a16:creationId xmlns:a16="http://schemas.microsoft.com/office/drawing/2014/main" id="{E0091324-8624-7FFA-BA42-3E430C3143E9}"/>
                </a:ext>
              </a:extLst>
            </p:cNvPr>
            <p:cNvSpPr/>
            <p:nvPr/>
          </p:nvSpPr>
          <p:spPr>
            <a:xfrm>
              <a:off x="8470125" y="2689688"/>
              <a:ext cx="880744" cy="878840"/>
            </a:xfrm>
            <a:custGeom>
              <a:avLst/>
              <a:gdLst/>
              <a:ahLst/>
              <a:cxnLst/>
              <a:rect l="l" t="t" r="r" b="b"/>
              <a:pathLst>
                <a:path w="880745" h="878839">
                  <a:moveTo>
                    <a:pt x="271805" y="471055"/>
                  </a:moveTo>
                  <a:lnTo>
                    <a:pt x="270459" y="464146"/>
                  </a:lnTo>
                  <a:lnTo>
                    <a:pt x="266420" y="458089"/>
                  </a:lnTo>
                  <a:lnTo>
                    <a:pt x="260350" y="454037"/>
                  </a:lnTo>
                  <a:lnTo>
                    <a:pt x="253441" y="452691"/>
                  </a:lnTo>
                  <a:lnTo>
                    <a:pt x="246532" y="454037"/>
                  </a:lnTo>
                  <a:lnTo>
                    <a:pt x="240449" y="458089"/>
                  </a:lnTo>
                  <a:lnTo>
                    <a:pt x="236410" y="464146"/>
                  </a:lnTo>
                  <a:lnTo>
                    <a:pt x="235064" y="471055"/>
                  </a:lnTo>
                  <a:lnTo>
                    <a:pt x="236410" y="477964"/>
                  </a:lnTo>
                  <a:lnTo>
                    <a:pt x="240449" y="484047"/>
                  </a:lnTo>
                  <a:lnTo>
                    <a:pt x="246532" y="488073"/>
                  </a:lnTo>
                  <a:lnTo>
                    <a:pt x="253441" y="489419"/>
                  </a:lnTo>
                  <a:lnTo>
                    <a:pt x="260350" y="488073"/>
                  </a:lnTo>
                  <a:lnTo>
                    <a:pt x="266420" y="484047"/>
                  </a:lnTo>
                  <a:lnTo>
                    <a:pt x="270459" y="477964"/>
                  </a:lnTo>
                  <a:lnTo>
                    <a:pt x="271805" y="471055"/>
                  </a:lnTo>
                  <a:close/>
                </a:path>
                <a:path w="880745" h="878839">
                  <a:moveTo>
                    <a:pt x="880427" y="13919"/>
                  </a:moveTo>
                  <a:lnTo>
                    <a:pt x="878484" y="9067"/>
                  </a:lnTo>
                  <a:lnTo>
                    <a:pt x="871385" y="1943"/>
                  </a:lnTo>
                  <a:lnTo>
                    <a:pt x="866546" y="0"/>
                  </a:lnTo>
                  <a:lnTo>
                    <a:pt x="861479" y="127"/>
                  </a:lnTo>
                  <a:lnTo>
                    <a:pt x="847280" y="800"/>
                  </a:lnTo>
                  <a:lnTo>
                    <a:pt x="842441" y="1206"/>
                  </a:lnTo>
                  <a:lnTo>
                    <a:pt x="842441" y="37985"/>
                  </a:lnTo>
                  <a:lnTo>
                    <a:pt x="839787" y="66624"/>
                  </a:lnTo>
                  <a:lnTo>
                    <a:pt x="839724" y="67335"/>
                  </a:lnTo>
                  <a:lnTo>
                    <a:pt x="834555" y="106527"/>
                  </a:lnTo>
                  <a:lnTo>
                    <a:pt x="826173" y="152996"/>
                  </a:lnTo>
                  <a:lnTo>
                    <a:pt x="813816" y="204139"/>
                  </a:lnTo>
                  <a:lnTo>
                    <a:pt x="801522" y="191858"/>
                  </a:lnTo>
                  <a:lnTo>
                    <a:pt x="801522" y="243776"/>
                  </a:lnTo>
                  <a:lnTo>
                    <a:pt x="782078" y="293255"/>
                  </a:lnTo>
                  <a:lnTo>
                    <a:pt x="759637" y="337223"/>
                  </a:lnTo>
                  <a:lnTo>
                    <a:pt x="734275" y="375539"/>
                  </a:lnTo>
                  <a:lnTo>
                    <a:pt x="706081" y="408089"/>
                  </a:lnTo>
                  <a:lnTo>
                    <a:pt x="586587" y="527558"/>
                  </a:lnTo>
                  <a:lnTo>
                    <a:pt x="586587" y="579501"/>
                  </a:lnTo>
                  <a:lnTo>
                    <a:pt x="573595" y="696391"/>
                  </a:lnTo>
                  <a:lnTo>
                    <a:pt x="448271" y="821702"/>
                  </a:lnTo>
                  <a:lnTo>
                    <a:pt x="435279" y="730796"/>
                  </a:lnTo>
                  <a:lnTo>
                    <a:pt x="451116" y="714959"/>
                  </a:lnTo>
                  <a:lnTo>
                    <a:pt x="461251" y="704824"/>
                  </a:lnTo>
                  <a:lnTo>
                    <a:pt x="513232" y="652856"/>
                  </a:lnTo>
                  <a:lnTo>
                    <a:pt x="586587" y="579501"/>
                  </a:lnTo>
                  <a:lnTo>
                    <a:pt x="586587" y="527558"/>
                  </a:lnTo>
                  <a:lnTo>
                    <a:pt x="461251" y="652856"/>
                  </a:lnTo>
                  <a:lnTo>
                    <a:pt x="318389" y="510006"/>
                  </a:lnTo>
                  <a:lnTo>
                    <a:pt x="312318" y="505980"/>
                  </a:lnTo>
                  <a:lnTo>
                    <a:pt x="305396" y="504634"/>
                  </a:lnTo>
                  <a:lnTo>
                    <a:pt x="298488" y="505980"/>
                  </a:lnTo>
                  <a:lnTo>
                    <a:pt x="292417" y="510006"/>
                  </a:lnTo>
                  <a:lnTo>
                    <a:pt x="288378" y="516089"/>
                  </a:lnTo>
                  <a:lnTo>
                    <a:pt x="287020" y="522998"/>
                  </a:lnTo>
                  <a:lnTo>
                    <a:pt x="288378" y="529920"/>
                  </a:lnTo>
                  <a:lnTo>
                    <a:pt x="292417" y="535990"/>
                  </a:lnTo>
                  <a:lnTo>
                    <a:pt x="435279" y="678840"/>
                  </a:lnTo>
                  <a:lnTo>
                    <a:pt x="409295" y="704824"/>
                  </a:lnTo>
                  <a:lnTo>
                    <a:pt x="340690" y="636231"/>
                  </a:lnTo>
                  <a:lnTo>
                    <a:pt x="340690" y="688187"/>
                  </a:lnTo>
                  <a:lnTo>
                    <a:pt x="301752" y="753110"/>
                  </a:lnTo>
                  <a:lnTo>
                    <a:pt x="127203" y="578599"/>
                  </a:lnTo>
                  <a:lnTo>
                    <a:pt x="192138" y="539648"/>
                  </a:lnTo>
                  <a:lnTo>
                    <a:pt x="340690" y="688187"/>
                  </a:lnTo>
                  <a:lnTo>
                    <a:pt x="340690" y="636231"/>
                  </a:lnTo>
                  <a:lnTo>
                    <a:pt x="244094" y="539648"/>
                  </a:lnTo>
                  <a:lnTo>
                    <a:pt x="175501" y="471055"/>
                  </a:lnTo>
                  <a:lnTo>
                    <a:pt x="201485" y="445084"/>
                  </a:lnTo>
                  <a:lnTo>
                    <a:pt x="352806" y="293789"/>
                  </a:lnTo>
                  <a:lnTo>
                    <a:pt x="472287" y="174320"/>
                  </a:lnTo>
                  <a:lnTo>
                    <a:pt x="504825" y="146126"/>
                  </a:lnTo>
                  <a:lnTo>
                    <a:pt x="543153" y="120764"/>
                  </a:lnTo>
                  <a:lnTo>
                    <a:pt x="587133" y="98348"/>
                  </a:lnTo>
                  <a:lnTo>
                    <a:pt x="636612" y="78917"/>
                  </a:lnTo>
                  <a:lnTo>
                    <a:pt x="801522" y="243776"/>
                  </a:lnTo>
                  <a:lnTo>
                    <a:pt x="801522" y="191858"/>
                  </a:lnTo>
                  <a:lnTo>
                    <a:pt x="688555" y="78917"/>
                  </a:lnTo>
                  <a:lnTo>
                    <a:pt x="676262" y="66624"/>
                  </a:lnTo>
                  <a:lnTo>
                    <a:pt x="727417" y="54254"/>
                  </a:lnTo>
                  <a:lnTo>
                    <a:pt x="773887" y="45872"/>
                  </a:lnTo>
                  <a:lnTo>
                    <a:pt x="813092" y="40703"/>
                  </a:lnTo>
                  <a:lnTo>
                    <a:pt x="842441" y="37985"/>
                  </a:lnTo>
                  <a:lnTo>
                    <a:pt x="842441" y="1206"/>
                  </a:lnTo>
                  <a:lnTo>
                    <a:pt x="763435" y="10223"/>
                  </a:lnTo>
                  <a:lnTo>
                    <a:pt x="702843" y="21971"/>
                  </a:lnTo>
                  <a:lnTo>
                    <a:pt x="635876" y="40398"/>
                  </a:lnTo>
                  <a:lnTo>
                    <a:pt x="578853" y="61836"/>
                  </a:lnTo>
                  <a:lnTo>
                    <a:pt x="528129" y="87045"/>
                  </a:lnTo>
                  <a:lnTo>
                    <a:pt x="483895" y="115912"/>
                  </a:lnTo>
                  <a:lnTo>
                    <a:pt x="446303" y="148361"/>
                  </a:lnTo>
                  <a:lnTo>
                    <a:pt x="342430" y="252209"/>
                  </a:lnTo>
                  <a:lnTo>
                    <a:pt x="300850" y="256832"/>
                  </a:lnTo>
                  <a:lnTo>
                    <a:pt x="300850" y="293789"/>
                  </a:lnTo>
                  <a:lnTo>
                    <a:pt x="149529" y="445084"/>
                  </a:lnTo>
                  <a:lnTo>
                    <a:pt x="58597" y="432092"/>
                  </a:lnTo>
                  <a:lnTo>
                    <a:pt x="183921" y="306781"/>
                  </a:lnTo>
                  <a:lnTo>
                    <a:pt x="300850" y="293789"/>
                  </a:lnTo>
                  <a:lnTo>
                    <a:pt x="300850" y="256832"/>
                  </a:lnTo>
                  <a:lnTo>
                    <a:pt x="169316" y="271437"/>
                  </a:lnTo>
                  <a:lnTo>
                    <a:pt x="165455" y="273304"/>
                  </a:lnTo>
                  <a:lnTo>
                    <a:pt x="1714" y="437007"/>
                  </a:lnTo>
                  <a:lnTo>
                    <a:pt x="0" y="444284"/>
                  </a:lnTo>
                  <a:lnTo>
                    <a:pt x="4406" y="457479"/>
                  </a:lnTo>
                  <a:lnTo>
                    <a:pt x="10147" y="462267"/>
                  </a:lnTo>
                  <a:lnTo>
                    <a:pt x="133426" y="479882"/>
                  </a:lnTo>
                  <a:lnTo>
                    <a:pt x="135216" y="482574"/>
                  </a:lnTo>
                  <a:lnTo>
                    <a:pt x="139179" y="486727"/>
                  </a:lnTo>
                  <a:lnTo>
                    <a:pt x="148247" y="495706"/>
                  </a:lnTo>
                  <a:lnTo>
                    <a:pt x="165354" y="512876"/>
                  </a:lnTo>
                  <a:lnTo>
                    <a:pt x="83273" y="562089"/>
                  </a:lnTo>
                  <a:lnTo>
                    <a:pt x="80035" y="567080"/>
                  </a:lnTo>
                  <a:lnTo>
                    <a:pt x="78651" y="578307"/>
                  </a:lnTo>
                  <a:lnTo>
                    <a:pt x="80581" y="583920"/>
                  </a:lnTo>
                  <a:lnTo>
                    <a:pt x="292417" y="795718"/>
                  </a:lnTo>
                  <a:lnTo>
                    <a:pt x="299580" y="800163"/>
                  </a:lnTo>
                  <a:lnTo>
                    <a:pt x="307606" y="800963"/>
                  </a:lnTo>
                  <a:lnTo>
                    <a:pt x="315226" y="798258"/>
                  </a:lnTo>
                  <a:lnTo>
                    <a:pt x="321144" y="792175"/>
                  </a:lnTo>
                  <a:lnTo>
                    <a:pt x="344589" y="753110"/>
                  </a:lnTo>
                  <a:lnTo>
                    <a:pt x="367474" y="714959"/>
                  </a:lnTo>
                  <a:lnTo>
                    <a:pt x="397573" y="745058"/>
                  </a:lnTo>
                  <a:lnTo>
                    <a:pt x="398970" y="746061"/>
                  </a:lnTo>
                  <a:lnTo>
                    <a:pt x="400469" y="746899"/>
                  </a:lnTo>
                  <a:lnTo>
                    <a:pt x="417106" y="863257"/>
                  </a:lnTo>
                  <a:lnTo>
                    <a:pt x="421386" y="872718"/>
                  </a:lnTo>
                  <a:lnTo>
                    <a:pt x="429514" y="878078"/>
                  </a:lnTo>
                  <a:lnTo>
                    <a:pt x="439216" y="878624"/>
                  </a:lnTo>
                  <a:lnTo>
                    <a:pt x="448271" y="873645"/>
                  </a:lnTo>
                  <a:lnTo>
                    <a:pt x="500227" y="821702"/>
                  </a:lnTo>
                  <a:lnTo>
                    <a:pt x="606983" y="714959"/>
                  </a:lnTo>
                  <a:lnTo>
                    <a:pt x="608939" y="710996"/>
                  </a:lnTo>
                  <a:lnTo>
                    <a:pt x="623557" y="579501"/>
                  </a:lnTo>
                  <a:lnTo>
                    <a:pt x="628180" y="537933"/>
                  </a:lnTo>
                  <a:lnTo>
                    <a:pt x="732053" y="434060"/>
                  </a:lnTo>
                  <a:lnTo>
                    <a:pt x="764514" y="396481"/>
                  </a:lnTo>
                  <a:lnTo>
                    <a:pt x="793381" y="352247"/>
                  </a:lnTo>
                  <a:lnTo>
                    <a:pt x="818591" y="301536"/>
                  </a:lnTo>
                  <a:lnTo>
                    <a:pt x="840028" y="244513"/>
                  </a:lnTo>
                  <a:lnTo>
                    <a:pt x="851154" y="204139"/>
                  </a:lnTo>
                  <a:lnTo>
                    <a:pt x="870216" y="116979"/>
                  </a:lnTo>
                  <a:lnTo>
                    <a:pt x="876782" y="67335"/>
                  </a:lnTo>
                  <a:lnTo>
                    <a:pt x="879233" y="37985"/>
                  </a:lnTo>
                  <a:lnTo>
                    <a:pt x="879640" y="33147"/>
                  </a:lnTo>
                  <a:lnTo>
                    <a:pt x="880300" y="18935"/>
                  </a:lnTo>
                  <a:lnTo>
                    <a:pt x="880427" y="13919"/>
                  </a:lnTo>
                  <a:close/>
                </a:path>
              </a:pathLst>
            </a:custGeom>
            <a:solidFill>
              <a:srgbClr val="6400FF"/>
            </a:solidFill>
          </p:spPr>
          <p:txBody>
            <a:bodyPr wrap="square" lIns="0" tIns="0" rIns="0" bIns="0" rtlCol="0"/>
            <a:lstStyle/>
            <a:p>
              <a:endParaRPr sz="372"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pic>
          <p:nvPicPr>
            <p:cNvPr id="114" name="object 37">
              <a:extLst>
                <a:ext uri="{FF2B5EF4-FFF2-40B4-BE49-F238E27FC236}">
                  <a16:creationId xmlns:a16="http://schemas.microsoft.com/office/drawing/2014/main" id="{45CED038-DB61-0445-0494-6062A664EA12}"/>
                </a:ext>
              </a:extLst>
            </p:cNvPr>
            <p:cNvPicPr/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09951" y="3350153"/>
              <a:ext cx="280038" cy="279985"/>
            </a:xfrm>
            <a:prstGeom prst="rect">
              <a:avLst/>
            </a:prstGeom>
          </p:spPr>
        </p:pic>
        <p:pic>
          <p:nvPicPr>
            <p:cNvPr id="115" name="object 38">
              <a:extLst>
                <a:ext uri="{FF2B5EF4-FFF2-40B4-BE49-F238E27FC236}">
                  <a16:creationId xmlns:a16="http://schemas.microsoft.com/office/drawing/2014/main" id="{8F452015-D049-861D-FDFE-2F0CF6666E7A}"/>
                </a:ext>
              </a:extLst>
            </p:cNvPr>
            <p:cNvPicPr/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897115" y="2922705"/>
              <a:ext cx="220395" cy="220350"/>
            </a:xfrm>
            <a:prstGeom prst="rect">
              <a:avLst/>
            </a:prstGeom>
          </p:spPr>
        </p:pic>
      </p:grpSp>
      <p:grpSp>
        <p:nvGrpSpPr>
          <p:cNvPr id="116" name="object 39">
            <a:extLst>
              <a:ext uri="{FF2B5EF4-FFF2-40B4-BE49-F238E27FC236}">
                <a16:creationId xmlns:a16="http://schemas.microsoft.com/office/drawing/2014/main" id="{75C5A239-D78E-F54C-B13D-5273D935C605}"/>
              </a:ext>
            </a:extLst>
          </p:cNvPr>
          <p:cNvGrpSpPr/>
          <p:nvPr/>
        </p:nvGrpSpPr>
        <p:grpSpPr>
          <a:xfrm>
            <a:off x="5729042" y="3036029"/>
            <a:ext cx="494423" cy="428577"/>
            <a:chOff x="6512273" y="6675515"/>
            <a:chExt cx="1087120" cy="942340"/>
          </a:xfrm>
        </p:grpSpPr>
        <p:sp>
          <p:nvSpPr>
            <p:cNvPr id="117" name="object 40">
              <a:extLst>
                <a:ext uri="{FF2B5EF4-FFF2-40B4-BE49-F238E27FC236}">
                  <a16:creationId xmlns:a16="http://schemas.microsoft.com/office/drawing/2014/main" id="{079DE884-A848-E54A-FE98-E2384490394C}"/>
                </a:ext>
              </a:extLst>
            </p:cNvPr>
            <p:cNvSpPr/>
            <p:nvPr/>
          </p:nvSpPr>
          <p:spPr>
            <a:xfrm>
              <a:off x="6830470" y="6675515"/>
              <a:ext cx="768985" cy="585470"/>
            </a:xfrm>
            <a:custGeom>
              <a:avLst/>
              <a:gdLst/>
              <a:ahLst/>
              <a:cxnLst/>
              <a:rect l="l" t="t" r="r" b="b"/>
              <a:pathLst>
                <a:path w="768984" h="585470">
                  <a:moveTo>
                    <a:pt x="229430" y="0"/>
                  </a:moveTo>
                  <a:lnTo>
                    <a:pt x="170827" y="3225"/>
                  </a:lnTo>
                  <a:lnTo>
                    <a:pt x="113245" y="13580"/>
                  </a:lnTo>
                  <a:lnTo>
                    <a:pt x="59315" y="30891"/>
                  </a:lnTo>
                  <a:lnTo>
                    <a:pt x="7929" y="54312"/>
                  </a:lnTo>
                  <a:lnTo>
                    <a:pt x="0" y="69771"/>
                  </a:lnTo>
                  <a:lnTo>
                    <a:pt x="1814" y="76029"/>
                  </a:lnTo>
                  <a:lnTo>
                    <a:pt x="5777" y="80706"/>
                  </a:lnTo>
                  <a:lnTo>
                    <a:pt x="11075" y="83413"/>
                  </a:lnTo>
                  <a:lnTo>
                    <a:pt x="17010" y="83956"/>
                  </a:lnTo>
                  <a:lnTo>
                    <a:pt x="22881" y="82144"/>
                  </a:lnTo>
                  <a:lnTo>
                    <a:pt x="71681" y="60155"/>
                  </a:lnTo>
                  <a:lnTo>
                    <a:pt x="122841" y="44214"/>
                  </a:lnTo>
                  <a:lnTo>
                    <a:pt x="175659" y="34511"/>
                  </a:lnTo>
                  <a:lnTo>
                    <a:pt x="229430" y="31234"/>
                  </a:lnTo>
                  <a:lnTo>
                    <a:pt x="276241" y="33708"/>
                  </a:lnTo>
                  <a:lnTo>
                    <a:pt x="321657" y="40961"/>
                  </a:lnTo>
                  <a:lnTo>
                    <a:pt x="365421" y="52739"/>
                  </a:lnTo>
                  <a:lnTo>
                    <a:pt x="407279" y="68789"/>
                  </a:lnTo>
                  <a:lnTo>
                    <a:pt x="446976" y="88857"/>
                  </a:lnTo>
                  <a:lnTo>
                    <a:pt x="484257" y="112691"/>
                  </a:lnTo>
                  <a:lnTo>
                    <a:pt x="518868" y="140036"/>
                  </a:lnTo>
                  <a:lnTo>
                    <a:pt x="550553" y="170640"/>
                  </a:lnTo>
                  <a:lnTo>
                    <a:pt x="579058" y="204248"/>
                  </a:lnTo>
                  <a:lnTo>
                    <a:pt x="604128" y="240608"/>
                  </a:lnTo>
                  <a:lnTo>
                    <a:pt x="625508" y="279467"/>
                  </a:lnTo>
                  <a:lnTo>
                    <a:pt x="642942" y="320570"/>
                  </a:lnTo>
                  <a:lnTo>
                    <a:pt x="656177" y="363664"/>
                  </a:lnTo>
                  <a:lnTo>
                    <a:pt x="664958" y="408496"/>
                  </a:lnTo>
                  <a:lnTo>
                    <a:pt x="669029" y="454813"/>
                  </a:lnTo>
                  <a:lnTo>
                    <a:pt x="609240" y="454813"/>
                  </a:lnTo>
                  <a:lnTo>
                    <a:pt x="603806" y="458216"/>
                  </a:lnTo>
                  <a:lnTo>
                    <a:pt x="598371" y="469074"/>
                  </a:lnTo>
                  <a:lnTo>
                    <a:pt x="599042" y="475189"/>
                  </a:lnTo>
                  <a:lnTo>
                    <a:pt x="674463" y="578369"/>
                  </a:lnTo>
                  <a:lnTo>
                    <a:pt x="677186" y="582442"/>
                  </a:lnTo>
                  <a:lnTo>
                    <a:pt x="681940" y="585154"/>
                  </a:lnTo>
                  <a:lnTo>
                    <a:pt x="687374" y="585154"/>
                  </a:lnTo>
                  <a:lnTo>
                    <a:pt x="692128" y="585154"/>
                  </a:lnTo>
                  <a:lnTo>
                    <a:pt x="696882" y="582442"/>
                  </a:lnTo>
                  <a:lnTo>
                    <a:pt x="699604" y="578369"/>
                  </a:lnTo>
                  <a:lnTo>
                    <a:pt x="765508" y="492152"/>
                  </a:lnTo>
                  <a:lnTo>
                    <a:pt x="768322" y="486659"/>
                  </a:lnTo>
                  <a:lnTo>
                    <a:pt x="768653" y="480783"/>
                  </a:lnTo>
                  <a:lnTo>
                    <a:pt x="766564" y="475163"/>
                  </a:lnTo>
                  <a:lnTo>
                    <a:pt x="762115" y="470435"/>
                  </a:lnTo>
                  <a:lnTo>
                    <a:pt x="756614" y="467612"/>
                  </a:lnTo>
                  <a:lnTo>
                    <a:pt x="750731" y="467209"/>
                  </a:lnTo>
                  <a:lnTo>
                    <a:pt x="745102" y="469097"/>
                  </a:lnTo>
                  <a:lnTo>
                    <a:pt x="740367" y="473147"/>
                  </a:lnTo>
                  <a:lnTo>
                    <a:pt x="687374" y="542391"/>
                  </a:lnTo>
                  <a:lnTo>
                    <a:pt x="646611" y="486728"/>
                  </a:lnTo>
                  <a:lnTo>
                    <a:pt x="694170" y="486728"/>
                  </a:lnTo>
                  <a:lnTo>
                    <a:pt x="700965" y="479262"/>
                  </a:lnTo>
                  <a:lnTo>
                    <a:pt x="700965" y="470435"/>
                  </a:lnTo>
                  <a:lnTo>
                    <a:pt x="698661" y="423374"/>
                  </a:lnTo>
                  <a:lnTo>
                    <a:pt x="691708" y="377012"/>
                  </a:lnTo>
                  <a:lnTo>
                    <a:pt x="680040" y="331540"/>
                  </a:lnTo>
                  <a:lnTo>
                    <a:pt x="663595" y="287153"/>
                  </a:lnTo>
                  <a:lnTo>
                    <a:pt x="643869" y="246051"/>
                  </a:lnTo>
                  <a:lnTo>
                    <a:pt x="620448" y="207302"/>
                  </a:lnTo>
                  <a:lnTo>
                    <a:pt x="593460" y="170972"/>
                  </a:lnTo>
                  <a:lnTo>
                    <a:pt x="563032" y="137126"/>
                  </a:lnTo>
                  <a:lnTo>
                    <a:pt x="529156" y="106728"/>
                  </a:lnTo>
                  <a:lnTo>
                    <a:pt x="492797" y="79765"/>
                  </a:lnTo>
                  <a:lnTo>
                    <a:pt x="454018" y="56366"/>
                  </a:lnTo>
                  <a:lnTo>
                    <a:pt x="412880" y="36658"/>
                  </a:lnTo>
                  <a:lnTo>
                    <a:pt x="368449" y="20333"/>
                  </a:lnTo>
                  <a:lnTo>
                    <a:pt x="322937" y="8909"/>
                  </a:lnTo>
                  <a:lnTo>
                    <a:pt x="276535" y="2195"/>
                  </a:lnTo>
                  <a:lnTo>
                    <a:pt x="229430" y="0"/>
                  </a:lnTo>
                  <a:close/>
                </a:path>
              </a:pathLst>
            </a:custGeom>
            <a:solidFill>
              <a:srgbClr val="6400FF"/>
            </a:solidFill>
          </p:spPr>
          <p:txBody>
            <a:bodyPr wrap="square" lIns="0" tIns="0" rIns="0" bIns="0" rtlCol="0"/>
            <a:lstStyle/>
            <a:p>
              <a:endParaRPr sz="372"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pic>
          <p:nvPicPr>
            <p:cNvPr id="118" name="object 41">
              <a:extLst>
                <a:ext uri="{FF2B5EF4-FFF2-40B4-BE49-F238E27FC236}">
                  <a16:creationId xmlns:a16="http://schemas.microsoft.com/office/drawing/2014/main" id="{86873D73-1D51-4789-2F4D-BDA535AD8CF8}"/>
                </a:ext>
              </a:extLst>
            </p:cNvPr>
            <p:cNvPicPr/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84595" y="6790832"/>
              <a:ext cx="87306" cy="91049"/>
            </a:xfrm>
            <a:prstGeom prst="rect">
              <a:avLst/>
            </a:prstGeom>
          </p:spPr>
        </p:pic>
        <p:sp>
          <p:nvSpPr>
            <p:cNvPr id="119" name="object 42">
              <a:extLst>
                <a:ext uri="{FF2B5EF4-FFF2-40B4-BE49-F238E27FC236}">
                  <a16:creationId xmlns:a16="http://schemas.microsoft.com/office/drawing/2014/main" id="{4596E19D-48C0-A420-3B4B-17B7F6472913}"/>
                </a:ext>
              </a:extLst>
            </p:cNvPr>
            <p:cNvSpPr/>
            <p:nvPr/>
          </p:nvSpPr>
          <p:spPr>
            <a:xfrm>
              <a:off x="6512273" y="7022399"/>
              <a:ext cx="749300" cy="595630"/>
            </a:xfrm>
            <a:custGeom>
              <a:avLst/>
              <a:gdLst/>
              <a:ahLst/>
              <a:cxnLst/>
              <a:rect l="l" t="t" r="r" b="b"/>
              <a:pathLst>
                <a:path w="749300" h="595629">
                  <a:moveTo>
                    <a:pt x="93075" y="0"/>
                  </a:moveTo>
                  <a:lnTo>
                    <a:pt x="85609" y="2711"/>
                  </a:lnTo>
                  <a:lnTo>
                    <a:pt x="4753" y="104541"/>
                  </a:lnTo>
                  <a:lnTo>
                    <a:pt x="0" y="112007"/>
                  </a:lnTo>
                  <a:lnTo>
                    <a:pt x="670" y="121514"/>
                  </a:lnTo>
                  <a:lnTo>
                    <a:pt x="6795" y="126938"/>
                  </a:lnTo>
                  <a:lnTo>
                    <a:pt x="12396" y="129761"/>
                  </a:lnTo>
                  <a:lnTo>
                    <a:pt x="18511" y="130164"/>
                  </a:lnTo>
                  <a:lnTo>
                    <a:pt x="24372" y="128277"/>
                  </a:lnTo>
                  <a:lnTo>
                    <a:pt x="29213" y="124226"/>
                  </a:lnTo>
                  <a:lnTo>
                    <a:pt x="95798" y="40731"/>
                  </a:lnTo>
                  <a:lnTo>
                    <a:pt x="127734" y="107933"/>
                  </a:lnTo>
                  <a:lnTo>
                    <a:pt x="82887" y="107933"/>
                  </a:lnTo>
                  <a:lnTo>
                    <a:pt x="76091" y="114719"/>
                  </a:lnTo>
                  <a:lnTo>
                    <a:pt x="76091" y="123545"/>
                  </a:lnTo>
                  <a:lnTo>
                    <a:pt x="78385" y="171000"/>
                  </a:lnTo>
                  <a:lnTo>
                    <a:pt x="85264" y="217565"/>
                  </a:lnTo>
                  <a:lnTo>
                    <a:pt x="96730" y="263110"/>
                  </a:lnTo>
                  <a:lnTo>
                    <a:pt x="112781" y="307508"/>
                  </a:lnTo>
                  <a:lnTo>
                    <a:pt x="132517" y="348217"/>
                  </a:lnTo>
                  <a:lnTo>
                    <a:pt x="156013" y="386764"/>
                  </a:lnTo>
                  <a:lnTo>
                    <a:pt x="183204" y="423019"/>
                  </a:lnTo>
                  <a:lnTo>
                    <a:pt x="214024" y="456855"/>
                  </a:lnTo>
                  <a:lnTo>
                    <a:pt x="247896" y="487645"/>
                  </a:lnTo>
                  <a:lnTo>
                    <a:pt x="284255" y="514807"/>
                  </a:lnTo>
                  <a:lnTo>
                    <a:pt x="323037" y="538281"/>
                  </a:lnTo>
                  <a:lnTo>
                    <a:pt x="364177" y="558003"/>
                  </a:lnTo>
                  <a:lnTo>
                    <a:pt x="408225" y="574142"/>
                  </a:lnTo>
                  <a:lnTo>
                    <a:pt x="453609" y="585829"/>
                  </a:lnTo>
                  <a:lnTo>
                    <a:pt x="500139" y="592935"/>
                  </a:lnTo>
                  <a:lnTo>
                    <a:pt x="547627" y="595332"/>
                  </a:lnTo>
                  <a:lnTo>
                    <a:pt x="597152" y="592692"/>
                  </a:lnTo>
                  <a:lnTo>
                    <a:pt x="645723" y="584897"/>
                  </a:lnTo>
                  <a:lnTo>
                    <a:pt x="693148" y="572136"/>
                  </a:lnTo>
                  <a:lnTo>
                    <a:pt x="739234" y="554600"/>
                  </a:lnTo>
                  <a:lnTo>
                    <a:pt x="748688" y="539802"/>
                  </a:lnTo>
                  <a:lnTo>
                    <a:pt x="747380" y="533554"/>
                  </a:lnTo>
                  <a:lnTo>
                    <a:pt x="683304" y="541946"/>
                  </a:lnTo>
                  <a:lnTo>
                    <a:pt x="639013" y="553837"/>
                  </a:lnTo>
                  <a:lnTo>
                    <a:pt x="593702" y="561019"/>
                  </a:lnTo>
                  <a:lnTo>
                    <a:pt x="547627" y="563427"/>
                  </a:lnTo>
                  <a:lnTo>
                    <a:pt x="500697" y="560953"/>
                  </a:lnTo>
                  <a:lnTo>
                    <a:pt x="455196" y="553700"/>
                  </a:lnTo>
                  <a:lnTo>
                    <a:pt x="411375" y="541922"/>
                  </a:lnTo>
                  <a:lnTo>
                    <a:pt x="369485" y="525871"/>
                  </a:lnTo>
                  <a:lnTo>
                    <a:pt x="329778" y="505802"/>
                  </a:lnTo>
                  <a:lnTo>
                    <a:pt x="292506" y="481967"/>
                  </a:lnTo>
                  <a:lnTo>
                    <a:pt x="257918" y="454621"/>
                  </a:lnTo>
                  <a:lnTo>
                    <a:pt x="226266" y="424016"/>
                  </a:lnTo>
                  <a:lnTo>
                    <a:pt x="197803" y="390406"/>
                  </a:lnTo>
                  <a:lnTo>
                    <a:pt x="172778" y="354045"/>
                  </a:lnTo>
                  <a:lnTo>
                    <a:pt x="151443" y="315186"/>
                  </a:lnTo>
                  <a:lnTo>
                    <a:pt x="134049" y="274082"/>
                  </a:lnTo>
                  <a:lnTo>
                    <a:pt x="120848" y="230988"/>
                  </a:lnTo>
                  <a:lnTo>
                    <a:pt x="112090" y="186155"/>
                  </a:lnTo>
                  <a:lnTo>
                    <a:pt x="108028" y="139838"/>
                  </a:lnTo>
                  <a:lnTo>
                    <a:pt x="157628" y="139838"/>
                  </a:lnTo>
                  <a:lnTo>
                    <a:pt x="163063" y="137126"/>
                  </a:lnTo>
                  <a:lnTo>
                    <a:pt x="168497" y="127619"/>
                  </a:lnTo>
                  <a:lnTo>
                    <a:pt x="169178" y="122195"/>
                  </a:lnTo>
                  <a:lnTo>
                    <a:pt x="167136" y="116760"/>
                  </a:lnTo>
                  <a:lnTo>
                    <a:pt x="117535" y="12900"/>
                  </a:lnTo>
                  <a:lnTo>
                    <a:pt x="114143" y="6104"/>
                  </a:lnTo>
                  <a:lnTo>
                    <a:pt x="108028" y="1361"/>
                  </a:lnTo>
                  <a:lnTo>
                    <a:pt x="93075" y="0"/>
                  </a:lnTo>
                  <a:close/>
                </a:path>
              </a:pathLst>
            </a:custGeom>
            <a:solidFill>
              <a:srgbClr val="6400FF"/>
            </a:solidFill>
          </p:spPr>
          <p:txBody>
            <a:bodyPr wrap="square" lIns="0" tIns="0" rIns="0" bIns="0" rtlCol="0"/>
            <a:lstStyle/>
            <a:p>
              <a:endParaRPr sz="372"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pic>
          <p:nvPicPr>
            <p:cNvPr id="120" name="object 43">
              <a:extLst>
                <a:ext uri="{FF2B5EF4-FFF2-40B4-BE49-F238E27FC236}">
                  <a16:creationId xmlns:a16="http://schemas.microsoft.com/office/drawing/2014/main" id="{82CD4A0D-1BCC-BCA7-C1AF-007223358EF0}"/>
                </a:ext>
              </a:extLst>
            </p:cNvPr>
            <p:cNvPicPr/>
            <p:nvPr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22336" y="7442423"/>
              <a:ext cx="85181" cy="80275"/>
            </a:xfrm>
            <a:prstGeom prst="rect">
              <a:avLst/>
            </a:prstGeom>
          </p:spPr>
        </p:pic>
        <p:sp>
          <p:nvSpPr>
            <p:cNvPr id="121" name="object 44">
              <a:extLst>
                <a:ext uri="{FF2B5EF4-FFF2-40B4-BE49-F238E27FC236}">
                  <a16:creationId xmlns:a16="http://schemas.microsoft.com/office/drawing/2014/main" id="{2B47C5EC-02D3-0C6E-7841-8BF80BB148B2}"/>
                </a:ext>
              </a:extLst>
            </p:cNvPr>
            <p:cNvSpPr/>
            <p:nvPr/>
          </p:nvSpPr>
          <p:spPr>
            <a:xfrm>
              <a:off x="6866939" y="6801105"/>
              <a:ext cx="354965" cy="682625"/>
            </a:xfrm>
            <a:custGeom>
              <a:avLst/>
              <a:gdLst/>
              <a:ahLst/>
              <a:cxnLst/>
              <a:rect l="l" t="t" r="r" b="b"/>
              <a:pathLst>
                <a:path w="354965" h="682625">
                  <a:moveTo>
                    <a:pt x="209951" y="0"/>
                  </a:moveTo>
                  <a:lnTo>
                    <a:pt x="204506" y="2711"/>
                  </a:lnTo>
                  <a:lnTo>
                    <a:pt x="201114" y="7465"/>
                  </a:lnTo>
                  <a:lnTo>
                    <a:pt x="2041" y="342125"/>
                  </a:lnTo>
                  <a:lnTo>
                    <a:pt x="0" y="346198"/>
                  </a:lnTo>
                  <a:lnTo>
                    <a:pt x="0" y="351633"/>
                  </a:lnTo>
                  <a:lnTo>
                    <a:pt x="4073" y="359779"/>
                  </a:lnTo>
                  <a:lnTo>
                    <a:pt x="8837" y="361810"/>
                  </a:lnTo>
                  <a:lnTo>
                    <a:pt x="123661" y="362491"/>
                  </a:lnTo>
                  <a:lnTo>
                    <a:pt x="133168" y="669319"/>
                  </a:lnTo>
                  <a:lnTo>
                    <a:pt x="133168" y="675434"/>
                  </a:lnTo>
                  <a:lnTo>
                    <a:pt x="137241" y="680178"/>
                  </a:lnTo>
                  <a:lnTo>
                    <a:pt x="142686" y="681539"/>
                  </a:lnTo>
                  <a:lnTo>
                    <a:pt x="144037" y="682220"/>
                  </a:lnTo>
                  <a:lnTo>
                    <a:pt x="150833" y="682220"/>
                  </a:lnTo>
                  <a:lnTo>
                    <a:pt x="154916" y="679508"/>
                  </a:lnTo>
                  <a:lnTo>
                    <a:pt x="157628" y="675434"/>
                  </a:lnTo>
                  <a:lnTo>
                    <a:pt x="188575" y="624515"/>
                  </a:lnTo>
                  <a:lnTo>
                    <a:pt x="157628" y="624515"/>
                  </a:lnTo>
                  <a:lnTo>
                    <a:pt x="149873" y="362491"/>
                  </a:lnTo>
                  <a:lnTo>
                    <a:pt x="149753" y="358418"/>
                  </a:lnTo>
                  <a:lnTo>
                    <a:pt x="149673" y="355706"/>
                  </a:lnTo>
                  <a:lnTo>
                    <a:pt x="149552" y="351633"/>
                  </a:lnTo>
                  <a:lnTo>
                    <a:pt x="149471" y="342125"/>
                  </a:lnTo>
                  <a:lnTo>
                    <a:pt x="143356" y="336010"/>
                  </a:lnTo>
                  <a:lnTo>
                    <a:pt x="36689" y="336010"/>
                  </a:lnTo>
                  <a:lnTo>
                    <a:pt x="199072" y="62448"/>
                  </a:lnTo>
                  <a:lnTo>
                    <a:pt x="225462" y="62448"/>
                  </a:lnTo>
                  <a:lnTo>
                    <a:pt x="225574" y="8816"/>
                  </a:lnTo>
                  <a:lnTo>
                    <a:pt x="221501" y="3392"/>
                  </a:lnTo>
                  <a:lnTo>
                    <a:pt x="216066" y="2031"/>
                  </a:lnTo>
                  <a:lnTo>
                    <a:pt x="209951" y="0"/>
                  </a:lnTo>
                  <a:close/>
                </a:path>
                <a:path w="354965" h="682625">
                  <a:moveTo>
                    <a:pt x="225462" y="62448"/>
                  </a:moveTo>
                  <a:lnTo>
                    <a:pt x="199072" y="62448"/>
                  </a:lnTo>
                  <a:lnTo>
                    <a:pt x="198431" y="336010"/>
                  </a:lnTo>
                  <a:lnTo>
                    <a:pt x="198391" y="352984"/>
                  </a:lnTo>
                  <a:lnTo>
                    <a:pt x="199753" y="356387"/>
                  </a:lnTo>
                  <a:lnTo>
                    <a:pt x="202475" y="358418"/>
                  </a:lnTo>
                  <a:lnTo>
                    <a:pt x="205187" y="361130"/>
                  </a:lnTo>
                  <a:lnTo>
                    <a:pt x="208590" y="362491"/>
                  </a:lnTo>
                  <a:lnTo>
                    <a:pt x="317979" y="362491"/>
                  </a:lnTo>
                  <a:lnTo>
                    <a:pt x="157628" y="624515"/>
                  </a:lnTo>
                  <a:lnTo>
                    <a:pt x="188575" y="624515"/>
                  </a:lnTo>
                  <a:lnTo>
                    <a:pt x="351947" y="355706"/>
                  </a:lnTo>
                  <a:lnTo>
                    <a:pt x="354669" y="351633"/>
                  </a:lnTo>
                  <a:lnTo>
                    <a:pt x="354669" y="346879"/>
                  </a:lnTo>
                  <a:lnTo>
                    <a:pt x="352628" y="342806"/>
                  </a:lnTo>
                  <a:lnTo>
                    <a:pt x="349916" y="338733"/>
                  </a:lnTo>
                  <a:lnTo>
                    <a:pt x="345832" y="336010"/>
                  </a:lnTo>
                  <a:lnTo>
                    <a:pt x="224893" y="336010"/>
                  </a:lnTo>
                  <a:lnTo>
                    <a:pt x="225462" y="62448"/>
                  </a:lnTo>
                  <a:close/>
                </a:path>
              </a:pathLst>
            </a:custGeom>
            <a:solidFill>
              <a:srgbClr val="6400FF"/>
            </a:solidFill>
          </p:spPr>
          <p:txBody>
            <a:bodyPr wrap="square" lIns="0" tIns="0" rIns="0" bIns="0" rtlCol="0"/>
            <a:lstStyle/>
            <a:p>
              <a:endParaRPr sz="372"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</p:grpSp>
      <p:grpSp>
        <p:nvGrpSpPr>
          <p:cNvPr id="122" name="object 45">
            <a:extLst>
              <a:ext uri="{FF2B5EF4-FFF2-40B4-BE49-F238E27FC236}">
                <a16:creationId xmlns:a16="http://schemas.microsoft.com/office/drawing/2014/main" id="{8E7A082A-796B-03D5-1B96-14B0EBBDEB89}"/>
              </a:ext>
            </a:extLst>
          </p:cNvPr>
          <p:cNvGrpSpPr/>
          <p:nvPr/>
        </p:nvGrpSpPr>
        <p:grpSpPr>
          <a:xfrm flipH="1">
            <a:off x="3046190" y="1228073"/>
            <a:ext cx="527635" cy="418180"/>
            <a:chOff x="12338210" y="2700244"/>
            <a:chExt cx="1160145" cy="919480"/>
          </a:xfrm>
        </p:grpSpPr>
        <p:sp>
          <p:nvSpPr>
            <p:cNvPr id="123" name="object 46">
              <a:extLst>
                <a:ext uri="{FF2B5EF4-FFF2-40B4-BE49-F238E27FC236}">
                  <a16:creationId xmlns:a16="http://schemas.microsoft.com/office/drawing/2014/main" id="{7856A626-4EA0-2B6B-D5FC-4EDC468A7E31}"/>
                </a:ext>
              </a:extLst>
            </p:cNvPr>
            <p:cNvSpPr/>
            <p:nvPr/>
          </p:nvSpPr>
          <p:spPr>
            <a:xfrm>
              <a:off x="12338210" y="2700244"/>
              <a:ext cx="1160145" cy="821690"/>
            </a:xfrm>
            <a:custGeom>
              <a:avLst/>
              <a:gdLst/>
              <a:ahLst/>
              <a:cxnLst/>
              <a:rect l="l" t="t" r="r" b="b"/>
              <a:pathLst>
                <a:path w="1160144" h="821689">
                  <a:moveTo>
                    <a:pt x="840015" y="504190"/>
                  </a:moveTo>
                  <a:lnTo>
                    <a:pt x="793546" y="504190"/>
                  </a:lnTo>
                  <a:lnTo>
                    <a:pt x="826702" y="538480"/>
                  </a:lnTo>
                  <a:lnTo>
                    <a:pt x="854465" y="579120"/>
                  </a:lnTo>
                  <a:lnTo>
                    <a:pt x="876551" y="622300"/>
                  </a:lnTo>
                  <a:lnTo>
                    <a:pt x="892678" y="669290"/>
                  </a:lnTo>
                  <a:lnTo>
                    <a:pt x="902562" y="720090"/>
                  </a:lnTo>
                  <a:lnTo>
                    <a:pt x="905920" y="772160"/>
                  </a:lnTo>
                  <a:lnTo>
                    <a:pt x="909917" y="791210"/>
                  </a:lnTo>
                  <a:lnTo>
                    <a:pt x="920814" y="807720"/>
                  </a:lnTo>
                  <a:lnTo>
                    <a:pt x="936965" y="817880"/>
                  </a:lnTo>
                  <a:lnTo>
                    <a:pt x="956724" y="821690"/>
                  </a:lnTo>
                  <a:lnTo>
                    <a:pt x="976479" y="817880"/>
                  </a:lnTo>
                  <a:lnTo>
                    <a:pt x="992630" y="807720"/>
                  </a:lnTo>
                  <a:lnTo>
                    <a:pt x="1003530" y="791210"/>
                  </a:lnTo>
                  <a:lnTo>
                    <a:pt x="1004063" y="788670"/>
                  </a:lnTo>
                  <a:lnTo>
                    <a:pt x="956724" y="788670"/>
                  </a:lnTo>
                  <a:lnTo>
                    <a:pt x="945398" y="783590"/>
                  </a:lnTo>
                  <a:lnTo>
                    <a:pt x="939929" y="772160"/>
                  </a:lnTo>
                  <a:lnTo>
                    <a:pt x="936475" y="716280"/>
                  </a:lnTo>
                  <a:lnTo>
                    <a:pt x="926301" y="664210"/>
                  </a:lnTo>
                  <a:lnTo>
                    <a:pt x="909689" y="613410"/>
                  </a:lnTo>
                  <a:lnTo>
                    <a:pt x="886920" y="566420"/>
                  </a:lnTo>
                  <a:lnTo>
                    <a:pt x="858275" y="524510"/>
                  </a:lnTo>
                  <a:lnTo>
                    <a:pt x="840015" y="504190"/>
                  </a:lnTo>
                  <a:close/>
                </a:path>
                <a:path w="1160144" h="821689">
                  <a:moveTo>
                    <a:pt x="177054" y="683260"/>
                  </a:moveTo>
                  <a:lnTo>
                    <a:pt x="155425" y="716280"/>
                  </a:lnTo>
                  <a:lnTo>
                    <a:pt x="152351" y="772160"/>
                  </a:lnTo>
                  <a:lnTo>
                    <a:pt x="163720" y="803910"/>
                  </a:lnTo>
                  <a:lnTo>
                    <a:pt x="188518" y="820420"/>
                  </a:lnTo>
                  <a:lnTo>
                    <a:pt x="217793" y="820420"/>
                  </a:lnTo>
                  <a:lnTo>
                    <a:pt x="242591" y="803910"/>
                  </a:lnTo>
                  <a:lnTo>
                    <a:pt x="248048" y="788670"/>
                  </a:lnTo>
                  <a:lnTo>
                    <a:pt x="193899" y="788670"/>
                  </a:lnTo>
                  <a:lnTo>
                    <a:pt x="186360" y="781050"/>
                  </a:lnTo>
                  <a:lnTo>
                    <a:pt x="186360" y="772160"/>
                  </a:lnTo>
                  <a:lnTo>
                    <a:pt x="186680" y="754380"/>
                  </a:lnTo>
                  <a:lnTo>
                    <a:pt x="187636" y="736600"/>
                  </a:lnTo>
                  <a:lnTo>
                    <a:pt x="189105" y="721360"/>
                  </a:lnTo>
                  <a:lnTo>
                    <a:pt x="189227" y="720090"/>
                  </a:lnTo>
                  <a:lnTo>
                    <a:pt x="191449" y="702310"/>
                  </a:lnTo>
                  <a:lnTo>
                    <a:pt x="188012" y="689610"/>
                  </a:lnTo>
                  <a:lnTo>
                    <a:pt x="177054" y="683260"/>
                  </a:lnTo>
                  <a:close/>
                </a:path>
                <a:path w="1160144" h="821689">
                  <a:moveTo>
                    <a:pt x="359112" y="458470"/>
                  </a:moveTo>
                  <a:lnTo>
                    <a:pt x="316555" y="458470"/>
                  </a:lnTo>
                  <a:lnTo>
                    <a:pt x="320468" y="466090"/>
                  </a:lnTo>
                  <a:lnTo>
                    <a:pt x="325092" y="472440"/>
                  </a:lnTo>
                  <a:lnTo>
                    <a:pt x="330379" y="478790"/>
                  </a:lnTo>
                  <a:lnTo>
                    <a:pt x="336282" y="485140"/>
                  </a:lnTo>
                  <a:lnTo>
                    <a:pt x="301953" y="523240"/>
                  </a:lnTo>
                  <a:lnTo>
                    <a:pt x="273211" y="566420"/>
                  </a:lnTo>
                  <a:lnTo>
                    <a:pt x="250348" y="613410"/>
                  </a:lnTo>
                  <a:lnTo>
                    <a:pt x="233655" y="664210"/>
                  </a:lnTo>
                  <a:lnTo>
                    <a:pt x="223426" y="716280"/>
                  </a:lnTo>
                  <a:lnTo>
                    <a:pt x="219951" y="772160"/>
                  </a:lnTo>
                  <a:lnTo>
                    <a:pt x="219951" y="781050"/>
                  </a:lnTo>
                  <a:lnTo>
                    <a:pt x="212422" y="788670"/>
                  </a:lnTo>
                  <a:lnTo>
                    <a:pt x="248048" y="788670"/>
                  </a:lnTo>
                  <a:lnTo>
                    <a:pt x="253960" y="772160"/>
                  </a:lnTo>
                  <a:lnTo>
                    <a:pt x="257204" y="721360"/>
                  </a:lnTo>
                  <a:lnTo>
                    <a:pt x="266843" y="673100"/>
                  </a:lnTo>
                  <a:lnTo>
                    <a:pt x="282738" y="626110"/>
                  </a:lnTo>
                  <a:lnTo>
                    <a:pt x="304751" y="581660"/>
                  </a:lnTo>
                  <a:lnTo>
                    <a:pt x="332743" y="541020"/>
                  </a:lnTo>
                  <a:lnTo>
                    <a:pt x="366575" y="504190"/>
                  </a:lnTo>
                  <a:lnTo>
                    <a:pt x="509729" y="504190"/>
                  </a:lnTo>
                  <a:lnTo>
                    <a:pt x="505806" y="485140"/>
                  </a:lnTo>
                  <a:lnTo>
                    <a:pt x="507928" y="474980"/>
                  </a:lnTo>
                  <a:lnTo>
                    <a:pt x="401652" y="474980"/>
                  </a:lnTo>
                  <a:lnTo>
                    <a:pt x="379943" y="471170"/>
                  </a:lnTo>
                  <a:lnTo>
                    <a:pt x="361147" y="461010"/>
                  </a:lnTo>
                  <a:lnTo>
                    <a:pt x="359112" y="458470"/>
                  </a:lnTo>
                  <a:close/>
                </a:path>
                <a:path w="1160144" h="821689">
                  <a:moveTo>
                    <a:pt x="891116" y="458470"/>
                  </a:moveTo>
                  <a:lnTo>
                    <a:pt x="843974" y="458470"/>
                  </a:lnTo>
                  <a:lnTo>
                    <a:pt x="877153" y="494030"/>
                  </a:lnTo>
                  <a:lnTo>
                    <a:pt x="905772" y="533400"/>
                  </a:lnTo>
                  <a:lnTo>
                    <a:pt x="929632" y="575310"/>
                  </a:lnTo>
                  <a:lnTo>
                    <a:pt x="948535" y="621030"/>
                  </a:lnTo>
                  <a:lnTo>
                    <a:pt x="962283" y="669290"/>
                  </a:lnTo>
                  <a:lnTo>
                    <a:pt x="970677" y="720090"/>
                  </a:lnTo>
                  <a:lnTo>
                    <a:pt x="973520" y="772160"/>
                  </a:lnTo>
                  <a:lnTo>
                    <a:pt x="968050" y="783590"/>
                  </a:lnTo>
                  <a:lnTo>
                    <a:pt x="956724" y="788670"/>
                  </a:lnTo>
                  <a:lnTo>
                    <a:pt x="1004063" y="788670"/>
                  </a:lnTo>
                  <a:lnTo>
                    <a:pt x="1007529" y="772160"/>
                  </a:lnTo>
                  <a:lnTo>
                    <a:pt x="1004964" y="721360"/>
                  </a:lnTo>
                  <a:lnTo>
                    <a:pt x="1004900" y="720090"/>
                  </a:lnTo>
                  <a:lnTo>
                    <a:pt x="997125" y="669290"/>
                  </a:lnTo>
                  <a:lnTo>
                    <a:pt x="984374" y="621030"/>
                  </a:lnTo>
                  <a:lnTo>
                    <a:pt x="966816" y="575310"/>
                  </a:lnTo>
                  <a:lnTo>
                    <a:pt x="944619" y="532130"/>
                  </a:lnTo>
                  <a:lnTo>
                    <a:pt x="917953" y="491490"/>
                  </a:lnTo>
                  <a:lnTo>
                    <a:pt x="891116" y="458470"/>
                  </a:lnTo>
                  <a:close/>
                </a:path>
                <a:path w="1160144" h="821689">
                  <a:moveTo>
                    <a:pt x="426918" y="508000"/>
                  </a:moveTo>
                  <a:lnTo>
                    <a:pt x="389956" y="508000"/>
                  </a:lnTo>
                  <a:lnTo>
                    <a:pt x="432814" y="609600"/>
                  </a:lnTo>
                  <a:lnTo>
                    <a:pt x="445157" y="629920"/>
                  </a:lnTo>
                  <a:lnTo>
                    <a:pt x="462470" y="646430"/>
                  </a:lnTo>
                  <a:lnTo>
                    <a:pt x="483517" y="655320"/>
                  </a:lnTo>
                  <a:lnTo>
                    <a:pt x="507063" y="659130"/>
                  </a:lnTo>
                  <a:lnTo>
                    <a:pt x="653718" y="659130"/>
                  </a:lnTo>
                  <a:lnTo>
                    <a:pt x="677266" y="655320"/>
                  </a:lnTo>
                  <a:lnTo>
                    <a:pt x="698316" y="646430"/>
                  </a:lnTo>
                  <a:lnTo>
                    <a:pt x="715632" y="629920"/>
                  </a:lnTo>
                  <a:lnTo>
                    <a:pt x="718718" y="624840"/>
                  </a:lnTo>
                  <a:lnTo>
                    <a:pt x="507063" y="624840"/>
                  </a:lnTo>
                  <a:lnTo>
                    <a:pt x="493457" y="623570"/>
                  </a:lnTo>
                  <a:lnTo>
                    <a:pt x="481294" y="617220"/>
                  </a:lnTo>
                  <a:lnTo>
                    <a:pt x="471290" y="608330"/>
                  </a:lnTo>
                  <a:lnTo>
                    <a:pt x="464163" y="596900"/>
                  </a:lnTo>
                  <a:lnTo>
                    <a:pt x="426918" y="508000"/>
                  </a:lnTo>
                  <a:close/>
                </a:path>
                <a:path w="1160144" h="821689">
                  <a:moveTo>
                    <a:pt x="770835" y="508000"/>
                  </a:moveTo>
                  <a:lnTo>
                    <a:pt x="733883" y="508000"/>
                  </a:lnTo>
                  <a:lnTo>
                    <a:pt x="696628" y="596900"/>
                  </a:lnTo>
                  <a:lnTo>
                    <a:pt x="689500" y="608330"/>
                  </a:lnTo>
                  <a:lnTo>
                    <a:pt x="679496" y="617220"/>
                  </a:lnTo>
                  <a:lnTo>
                    <a:pt x="667330" y="623570"/>
                  </a:lnTo>
                  <a:lnTo>
                    <a:pt x="653718" y="624840"/>
                  </a:lnTo>
                  <a:lnTo>
                    <a:pt x="718718" y="624840"/>
                  </a:lnTo>
                  <a:lnTo>
                    <a:pt x="727977" y="609600"/>
                  </a:lnTo>
                  <a:lnTo>
                    <a:pt x="770835" y="508000"/>
                  </a:lnTo>
                  <a:close/>
                </a:path>
                <a:path w="1160144" h="821689">
                  <a:moveTo>
                    <a:pt x="623132" y="176530"/>
                  </a:moveTo>
                  <a:lnTo>
                    <a:pt x="394741" y="176530"/>
                  </a:lnTo>
                  <a:lnTo>
                    <a:pt x="369302" y="180340"/>
                  </a:lnTo>
                  <a:lnTo>
                    <a:pt x="346617" y="191770"/>
                  </a:lnTo>
                  <a:lnTo>
                    <a:pt x="328095" y="208280"/>
                  </a:lnTo>
                  <a:lnTo>
                    <a:pt x="315142" y="231140"/>
                  </a:lnTo>
                  <a:lnTo>
                    <a:pt x="139922" y="231140"/>
                  </a:lnTo>
                  <a:lnTo>
                    <a:pt x="117409" y="237490"/>
                  </a:lnTo>
                  <a:lnTo>
                    <a:pt x="102041" y="252730"/>
                  </a:lnTo>
                  <a:lnTo>
                    <a:pt x="96328" y="274320"/>
                  </a:lnTo>
                  <a:lnTo>
                    <a:pt x="102782" y="297180"/>
                  </a:lnTo>
                  <a:lnTo>
                    <a:pt x="135140" y="342900"/>
                  </a:lnTo>
                  <a:lnTo>
                    <a:pt x="178150" y="367030"/>
                  </a:lnTo>
                  <a:lnTo>
                    <a:pt x="203281" y="370840"/>
                  </a:lnTo>
                  <a:lnTo>
                    <a:pt x="308901" y="370840"/>
                  </a:lnTo>
                  <a:lnTo>
                    <a:pt x="308901" y="419100"/>
                  </a:lnTo>
                  <a:lnTo>
                    <a:pt x="269720" y="457200"/>
                  </a:lnTo>
                  <a:lnTo>
                    <a:pt x="235491" y="500380"/>
                  </a:lnTo>
                  <a:lnTo>
                    <a:pt x="206628" y="547370"/>
                  </a:lnTo>
                  <a:lnTo>
                    <a:pt x="183544" y="598170"/>
                  </a:lnTo>
                  <a:lnTo>
                    <a:pt x="184106" y="608330"/>
                  </a:lnTo>
                  <a:lnTo>
                    <a:pt x="184176" y="609600"/>
                  </a:lnTo>
                  <a:lnTo>
                    <a:pt x="184247" y="610870"/>
                  </a:lnTo>
                  <a:lnTo>
                    <a:pt x="193495" y="619760"/>
                  </a:lnTo>
                  <a:lnTo>
                    <a:pt x="205718" y="621030"/>
                  </a:lnTo>
                  <a:lnTo>
                    <a:pt x="215344" y="610870"/>
                  </a:lnTo>
                  <a:lnTo>
                    <a:pt x="234372" y="567690"/>
                  </a:lnTo>
                  <a:lnTo>
                    <a:pt x="257770" y="528320"/>
                  </a:lnTo>
                  <a:lnTo>
                    <a:pt x="285258" y="491490"/>
                  </a:lnTo>
                  <a:lnTo>
                    <a:pt x="316555" y="458470"/>
                  </a:lnTo>
                  <a:lnTo>
                    <a:pt x="359112" y="458470"/>
                  </a:lnTo>
                  <a:lnTo>
                    <a:pt x="347920" y="444500"/>
                  </a:lnTo>
                  <a:lnTo>
                    <a:pt x="342921" y="422910"/>
                  </a:lnTo>
                  <a:lnTo>
                    <a:pt x="342921" y="344170"/>
                  </a:lnTo>
                  <a:lnTo>
                    <a:pt x="335309" y="336550"/>
                  </a:lnTo>
                  <a:lnTo>
                    <a:pt x="203292" y="336550"/>
                  </a:lnTo>
                  <a:lnTo>
                    <a:pt x="186779" y="334010"/>
                  </a:lnTo>
                  <a:lnTo>
                    <a:pt x="148058" y="306070"/>
                  </a:lnTo>
                  <a:lnTo>
                    <a:pt x="128634" y="271780"/>
                  </a:lnTo>
                  <a:lnTo>
                    <a:pt x="131399" y="266700"/>
                  </a:lnTo>
                  <a:lnTo>
                    <a:pt x="139932" y="264160"/>
                  </a:lnTo>
                  <a:lnTo>
                    <a:pt x="344575" y="264160"/>
                  </a:lnTo>
                  <a:lnTo>
                    <a:pt x="344575" y="250190"/>
                  </a:lnTo>
                  <a:lnTo>
                    <a:pt x="351591" y="233680"/>
                  </a:lnTo>
                  <a:lnTo>
                    <a:pt x="363058" y="222250"/>
                  </a:lnTo>
                  <a:lnTo>
                    <a:pt x="377825" y="213360"/>
                  </a:lnTo>
                  <a:lnTo>
                    <a:pt x="394741" y="210820"/>
                  </a:lnTo>
                  <a:lnTo>
                    <a:pt x="623132" y="210820"/>
                  </a:lnTo>
                  <a:lnTo>
                    <a:pt x="630745" y="203200"/>
                  </a:lnTo>
                  <a:lnTo>
                    <a:pt x="630745" y="184150"/>
                  </a:lnTo>
                  <a:lnTo>
                    <a:pt x="623132" y="176530"/>
                  </a:lnTo>
                  <a:close/>
                </a:path>
                <a:path w="1160144" h="821689">
                  <a:moveTo>
                    <a:pt x="509729" y="504190"/>
                  </a:moveTo>
                  <a:lnTo>
                    <a:pt x="366575" y="504190"/>
                  </a:lnTo>
                  <a:lnTo>
                    <a:pt x="373967" y="506730"/>
                  </a:lnTo>
                  <a:lnTo>
                    <a:pt x="381810" y="508000"/>
                  </a:lnTo>
                  <a:lnTo>
                    <a:pt x="474226" y="508000"/>
                  </a:lnTo>
                  <a:lnTo>
                    <a:pt x="489801" y="544830"/>
                  </a:lnTo>
                  <a:lnTo>
                    <a:pt x="514683" y="571500"/>
                  </a:lnTo>
                  <a:lnTo>
                    <a:pt x="545769" y="588010"/>
                  </a:lnTo>
                  <a:lnTo>
                    <a:pt x="579956" y="593090"/>
                  </a:lnTo>
                  <a:lnTo>
                    <a:pt x="614141" y="588010"/>
                  </a:lnTo>
                  <a:lnTo>
                    <a:pt x="645221" y="571500"/>
                  </a:lnTo>
                  <a:lnTo>
                    <a:pt x="655880" y="560070"/>
                  </a:lnTo>
                  <a:lnTo>
                    <a:pt x="579940" y="560070"/>
                  </a:lnTo>
                  <a:lnTo>
                    <a:pt x="551650" y="553720"/>
                  </a:lnTo>
                  <a:lnTo>
                    <a:pt x="528023" y="537210"/>
                  </a:lnTo>
                  <a:lnTo>
                    <a:pt x="511821" y="514350"/>
                  </a:lnTo>
                  <a:lnTo>
                    <a:pt x="509729" y="504190"/>
                  </a:lnTo>
                  <a:close/>
                </a:path>
                <a:path w="1160144" h="821689">
                  <a:moveTo>
                    <a:pt x="658225" y="411480"/>
                  </a:moveTo>
                  <a:lnTo>
                    <a:pt x="579940" y="411480"/>
                  </a:lnTo>
                  <a:lnTo>
                    <a:pt x="608769" y="417830"/>
                  </a:lnTo>
                  <a:lnTo>
                    <a:pt x="632336" y="433070"/>
                  </a:lnTo>
                  <a:lnTo>
                    <a:pt x="648239" y="457200"/>
                  </a:lnTo>
                  <a:lnTo>
                    <a:pt x="654074" y="485140"/>
                  </a:lnTo>
                  <a:lnTo>
                    <a:pt x="648239" y="514350"/>
                  </a:lnTo>
                  <a:lnTo>
                    <a:pt x="632336" y="537210"/>
                  </a:lnTo>
                  <a:lnTo>
                    <a:pt x="608769" y="553720"/>
                  </a:lnTo>
                  <a:lnTo>
                    <a:pt x="579940" y="560070"/>
                  </a:lnTo>
                  <a:lnTo>
                    <a:pt x="655880" y="560070"/>
                  </a:lnTo>
                  <a:lnTo>
                    <a:pt x="670093" y="544830"/>
                  </a:lnTo>
                  <a:lnTo>
                    <a:pt x="685654" y="508000"/>
                  </a:lnTo>
                  <a:lnTo>
                    <a:pt x="778730" y="508000"/>
                  </a:lnTo>
                  <a:lnTo>
                    <a:pt x="786353" y="506730"/>
                  </a:lnTo>
                  <a:lnTo>
                    <a:pt x="793546" y="504190"/>
                  </a:lnTo>
                  <a:lnTo>
                    <a:pt x="840015" y="504190"/>
                  </a:lnTo>
                  <a:lnTo>
                    <a:pt x="824037" y="486410"/>
                  </a:lnTo>
                  <a:lnTo>
                    <a:pt x="829984" y="480060"/>
                  </a:lnTo>
                  <a:lnTo>
                    <a:pt x="834254" y="474980"/>
                  </a:lnTo>
                  <a:lnTo>
                    <a:pt x="687518" y="474980"/>
                  </a:lnTo>
                  <a:lnTo>
                    <a:pt x="676265" y="436880"/>
                  </a:lnTo>
                  <a:lnTo>
                    <a:pt x="658225" y="411480"/>
                  </a:lnTo>
                  <a:close/>
                </a:path>
                <a:path w="1160144" h="821689">
                  <a:moveTo>
                    <a:pt x="596400" y="379730"/>
                  </a:moveTo>
                  <a:lnTo>
                    <a:pt x="563452" y="379730"/>
                  </a:lnTo>
                  <a:lnTo>
                    <a:pt x="531862" y="388620"/>
                  </a:lnTo>
                  <a:lnTo>
                    <a:pt x="504344" y="407670"/>
                  </a:lnTo>
                  <a:lnTo>
                    <a:pt x="483610" y="436880"/>
                  </a:lnTo>
                  <a:lnTo>
                    <a:pt x="472373" y="474980"/>
                  </a:lnTo>
                  <a:lnTo>
                    <a:pt x="507928" y="474980"/>
                  </a:lnTo>
                  <a:lnTo>
                    <a:pt x="511641" y="457200"/>
                  </a:lnTo>
                  <a:lnTo>
                    <a:pt x="527544" y="433070"/>
                  </a:lnTo>
                  <a:lnTo>
                    <a:pt x="551111" y="417830"/>
                  </a:lnTo>
                  <a:lnTo>
                    <a:pt x="579940" y="411480"/>
                  </a:lnTo>
                  <a:lnTo>
                    <a:pt x="658225" y="411480"/>
                  </a:lnTo>
                  <a:lnTo>
                    <a:pt x="655519" y="407670"/>
                  </a:lnTo>
                  <a:lnTo>
                    <a:pt x="627993" y="388620"/>
                  </a:lnTo>
                  <a:lnTo>
                    <a:pt x="596400" y="379730"/>
                  </a:lnTo>
                  <a:close/>
                </a:path>
                <a:path w="1160144" h="821689">
                  <a:moveTo>
                    <a:pt x="1061774" y="264160"/>
                  </a:moveTo>
                  <a:lnTo>
                    <a:pt x="1020869" y="264160"/>
                  </a:lnTo>
                  <a:lnTo>
                    <a:pt x="1029403" y="266700"/>
                  </a:lnTo>
                  <a:lnTo>
                    <a:pt x="1032157" y="271780"/>
                  </a:lnTo>
                  <a:lnTo>
                    <a:pt x="1012733" y="306070"/>
                  </a:lnTo>
                  <a:lnTo>
                    <a:pt x="974016" y="334010"/>
                  </a:lnTo>
                  <a:lnTo>
                    <a:pt x="957510" y="336550"/>
                  </a:lnTo>
                  <a:lnTo>
                    <a:pt x="825493" y="336550"/>
                  </a:lnTo>
                  <a:lnTo>
                    <a:pt x="817880" y="344170"/>
                  </a:lnTo>
                  <a:lnTo>
                    <a:pt x="817880" y="422910"/>
                  </a:lnTo>
                  <a:lnTo>
                    <a:pt x="812858" y="444500"/>
                  </a:lnTo>
                  <a:lnTo>
                    <a:pt x="799599" y="461010"/>
                  </a:lnTo>
                  <a:lnTo>
                    <a:pt x="780814" y="471170"/>
                  </a:lnTo>
                  <a:lnTo>
                    <a:pt x="759212" y="474980"/>
                  </a:lnTo>
                  <a:lnTo>
                    <a:pt x="834254" y="474980"/>
                  </a:lnTo>
                  <a:lnTo>
                    <a:pt x="835321" y="473710"/>
                  </a:lnTo>
                  <a:lnTo>
                    <a:pt x="840000" y="466090"/>
                  </a:lnTo>
                  <a:lnTo>
                    <a:pt x="843974" y="458470"/>
                  </a:lnTo>
                  <a:lnTo>
                    <a:pt x="891116" y="458470"/>
                  </a:lnTo>
                  <a:lnTo>
                    <a:pt x="886987" y="453390"/>
                  </a:lnTo>
                  <a:lnTo>
                    <a:pt x="851890" y="420370"/>
                  </a:lnTo>
                  <a:lnTo>
                    <a:pt x="851890" y="370840"/>
                  </a:lnTo>
                  <a:lnTo>
                    <a:pt x="957499" y="370840"/>
                  </a:lnTo>
                  <a:lnTo>
                    <a:pt x="982636" y="367030"/>
                  </a:lnTo>
                  <a:lnTo>
                    <a:pt x="1025651" y="342900"/>
                  </a:lnTo>
                  <a:lnTo>
                    <a:pt x="1058009" y="297180"/>
                  </a:lnTo>
                  <a:lnTo>
                    <a:pt x="1064463" y="274320"/>
                  </a:lnTo>
                  <a:lnTo>
                    <a:pt x="1061774" y="264160"/>
                  </a:lnTo>
                  <a:close/>
                </a:path>
                <a:path w="1160144" h="821689">
                  <a:moveTo>
                    <a:pt x="344575" y="264160"/>
                  </a:moveTo>
                  <a:lnTo>
                    <a:pt x="310566" y="264160"/>
                  </a:lnTo>
                  <a:lnTo>
                    <a:pt x="310566" y="288290"/>
                  </a:lnTo>
                  <a:lnTo>
                    <a:pt x="315880" y="300990"/>
                  </a:lnTo>
                  <a:lnTo>
                    <a:pt x="327571" y="304800"/>
                  </a:lnTo>
                  <a:lnTo>
                    <a:pt x="339261" y="300990"/>
                  </a:lnTo>
                  <a:lnTo>
                    <a:pt x="344575" y="288290"/>
                  </a:lnTo>
                  <a:lnTo>
                    <a:pt x="344575" y="264160"/>
                  </a:lnTo>
                  <a:close/>
                </a:path>
                <a:path w="1160144" h="821689">
                  <a:moveTo>
                    <a:pt x="766049" y="176530"/>
                  </a:moveTo>
                  <a:lnTo>
                    <a:pt x="715664" y="176530"/>
                  </a:lnTo>
                  <a:lnTo>
                    <a:pt x="708051" y="184150"/>
                  </a:lnTo>
                  <a:lnTo>
                    <a:pt x="708051" y="203200"/>
                  </a:lnTo>
                  <a:lnTo>
                    <a:pt x="715664" y="210820"/>
                  </a:lnTo>
                  <a:lnTo>
                    <a:pt x="766049" y="210820"/>
                  </a:lnTo>
                  <a:lnTo>
                    <a:pt x="783008" y="213360"/>
                  </a:lnTo>
                  <a:lnTo>
                    <a:pt x="797801" y="222250"/>
                  </a:lnTo>
                  <a:lnTo>
                    <a:pt x="809271" y="233680"/>
                  </a:lnTo>
                  <a:lnTo>
                    <a:pt x="816257" y="250190"/>
                  </a:lnTo>
                  <a:lnTo>
                    <a:pt x="816257" y="288290"/>
                  </a:lnTo>
                  <a:lnTo>
                    <a:pt x="821571" y="300990"/>
                  </a:lnTo>
                  <a:lnTo>
                    <a:pt x="833262" y="304800"/>
                  </a:lnTo>
                  <a:lnTo>
                    <a:pt x="844953" y="300990"/>
                  </a:lnTo>
                  <a:lnTo>
                    <a:pt x="850267" y="288290"/>
                  </a:lnTo>
                  <a:lnTo>
                    <a:pt x="850267" y="264160"/>
                  </a:lnTo>
                  <a:lnTo>
                    <a:pt x="1061774" y="264160"/>
                  </a:lnTo>
                  <a:lnTo>
                    <a:pt x="1058749" y="252730"/>
                  </a:lnTo>
                  <a:lnTo>
                    <a:pt x="1043377" y="237490"/>
                  </a:lnTo>
                  <a:lnTo>
                    <a:pt x="1020858" y="231140"/>
                  </a:lnTo>
                  <a:lnTo>
                    <a:pt x="845649" y="231140"/>
                  </a:lnTo>
                  <a:lnTo>
                    <a:pt x="832696" y="208280"/>
                  </a:lnTo>
                  <a:lnTo>
                    <a:pt x="814174" y="191770"/>
                  </a:lnTo>
                  <a:lnTo>
                    <a:pt x="791489" y="180340"/>
                  </a:lnTo>
                  <a:lnTo>
                    <a:pt x="766049" y="176530"/>
                  </a:lnTo>
                  <a:close/>
                </a:path>
                <a:path w="1160144" h="821689">
                  <a:moveTo>
                    <a:pt x="198444" y="96520"/>
                  </a:moveTo>
                  <a:lnTo>
                    <a:pt x="164434" y="96520"/>
                  </a:lnTo>
                  <a:lnTo>
                    <a:pt x="164434" y="231140"/>
                  </a:lnTo>
                  <a:lnTo>
                    <a:pt x="198444" y="231140"/>
                  </a:lnTo>
                  <a:lnTo>
                    <a:pt x="198444" y="96520"/>
                  </a:lnTo>
                  <a:close/>
                </a:path>
                <a:path w="1160144" h="821689">
                  <a:moveTo>
                    <a:pt x="267206" y="96520"/>
                  </a:moveTo>
                  <a:lnTo>
                    <a:pt x="233186" y="96520"/>
                  </a:lnTo>
                  <a:lnTo>
                    <a:pt x="233186" y="231140"/>
                  </a:lnTo>
                  <a:lnTo>
                    <a:pt x="267206" y="231140"/>
                  </a:lnTo>
                  <a:lnTo>
                    <a:pt x="267206" y="96520"/>
                  </a:lnTo>
                  <a:close/>
                </a:path>
                <a:path w="1160144" h="821689">
                  <a:moveTo>
                    <a:pt x="926683" y="96520"/>
                  </a:moveTo>
                  <a:lnTo>
                    <a:pt x="892674" y="96520"/>
                  </a:lnTo>
                  <a:lnTo>
                    <a:pt x="892674" y="231140"/>
                  </a:lnTo>
                  <a:lnTo>
                    <a:pt x="926683" y="231140"/>
                  </a:lnTo>
                  <a:lnTo>
                    <a:pt x="926683" y="96520"/>
                  </a:lnTo>
                  <a:close/>
                </a:path>
                <a:path w="1160144" h="821689">
                  <a:moveTo>
                    <a:pt x="995435" y="96520"/>
                  </a:moveTo>
                  <a:lnTo>
                    <a:pt x="961426" y="96520"/>
                  </a:lnTo>
                  <a:lnTo>
                    <a:pt x="961426" y="231140"/>
                  </a:lnTo>
                  <a:lnTo>
                    <a:pt x="995435" y="231140"/>
                  </a:lnTo>
                  <a:lnTo>
                    <a:pt x="995435" y="96520"/>
                  </a:lnTo>
                  <a:close/>
                </a:path>
                <a:path w="1160144" h="821689">
                  <a:moveTo>
                    <a:pt x="415160" y="62230"/>
                  </a:moveTo>
                  <a:lnTo>
                    <a:pt x="16491" y="62230"/>
                  </a:lnTo>
                  <a:lnTo>
                    <a:pt x="4122" y="67310"/>
                  </a:lnTo>
                  <a:lnTo>
                    <a:pt x="0" y="78740"/>
                  </a:lnTo>
                  <a:lnTo>
                    <a:pt x="4122" y="90170"/>
                  </a:lnTo>
                  <a:lnTo>
                    <a:pt x="16491" y="96520"/>
                  </a:lnTo>
                  <a:lnTo>
                    <a:pt x="415160" y="96520"/>
                  </a:lnTo>
                  <a:lnTo>
                    <a:pt x="427522" y="90170"/>
                  </a:lnTo>
                  <a:lnTo>
                    <a:pt x="431643" y="78740"/>
                  </a:lnTo>
                  <a:lnTo>
                    <a:pt x="427522" y="67310"/>
                  </a:lnTo>
                  <a:lnTo>
                    <a:pt x="415160" y="62230"/>
                  </a:lnTo>
                  <a:close/>
                </a:path>
                <a:path w="1160144" h="821689">
                  <a:moveTo>
                    <a:pt x="1143389" y="62230"/>
                  </a:moveTo>
                  <a:lnTo>
                    <a:pt x="744731" y="62230"/>
                  </a:lnTo>
                  <a:lnTo>
                    <a:pt x="732362" y="67310"/>
                  </a:lnTo>
                  <a:lnTo>
                    <a:pt x="728239" y="78740"/>
                  </a:lnTo>
                  <a:lnTo>
                    <a:pt x="732362" y="90170"/>
                  </a:lnTo>
                  <a:lnTo>
                    <a:pt x="744731" y="96520"/>
                  </a:lnTo>
                  <a:lnTo>
                    <a:pt x="1143378" y="96520"/>
                  </a:lnTo>
                  <a:lnTo>
                    <a:pt x="1155747" y="90170"/>
                  </a:lnTo>
                  <a:lnTo>
                    <a:pt x="1159871" y="78740"/>
                  </a:lnTo>
                  <a:lnTo>
                    <a:pt x="1155751" y="67310"/>
                  </a:lnTo>
                  <a:lnTo>
                    <a:pt x="1143389" y="62230"/>
                  </a:lnTo>
                  <a:close/>
                </a:path>
                <a:path w="1160144" h="821689">
                  <a:moveTo>
                    <a:pt x="215773" y="0"/>
                  </a:moveTo>
                  <a:lnTo>
                    <a:pt x="195811" y="3810"/>
                  </a:lnTo>
                  <a:lnTo>
                    <a:pt x="179490" y="15240"/>
                  </a:lnTo>
                  <a:lnTo>
                    <a:pt x="168476" y="31750"/>
                  </a:lnTo>
                  <a:lnTo>
                    <a:pt x="164434" y="50800"/>
                  </a:lnTo>
                  <a:lnTo>
                    <a:pt x="164434" y="62230"/>
                  </a:lnTo>
                  <a:lnTo>
                    <a:pt x="198444" y="62230"/>
                  </a:lnTo>
                  <a:lnTo>
                    <a:pt x="198444" y="50800"/>
                  </a:lnTo>
                  <a:lnTo>
                    <a:pt x="204096" y="38100"/>
                  </a:lnTo>
                  <a:lnTo>
                    <a:pt x="215816" y="34290"/>
                  </a:lnTo>
                  <a:lnTo>
                    <a:pt x="263703" y="34290"/>
                  </a:lnTo>
                  <a:lnTo>
                    <a:pt x="263164" y="31750"/>
                  </a:lnTo>
                  <a:lnTo>
                    <a:pt x="252142" y="15240"/>
                  </a:lnTo>
                  <a:lnTo>
                    <a:pt x="235794" y="3810"/>
                  </a:lnTo>
                  <a:lnTo>
                    <a:pt x="215773" y="0"/>
                  </a:lnTo>
                  <a:close/>
                </a:path>
                <a:path w="1160144" h="821689">
                  <a:moveTo>
                    <a:pt x="263703" y="34290"/>
                  </a:moveTo>
                  <a:lnTo>
                    <a:pt x="215816" y="34290"/>
                  </a:lnTo>
                  <a:lnTo>
                    <a:pt x="227538" y="38100"/>
                  </a:lnTo>
                  <a:lnTo>
                    <a:pt x="233197" y="50800"/>
                  </a:lnTo>
                  <a:lnTo>
                    <a:pt x="233197" y="62230"/>
                  </a:lnTo>
                  <a:lnTo>
                    <a:pt x="267206" y="62230"/>
                  </a:lnTo>
                  <a:lnTo>
                    <a:pt x="267206" y="50800"/>
                  </a:lnTo>
                  <a:lnTo>
                    <a:pt x="263703" y="34290"/>
                  </a:lnTo>
                  <a:close/>
                </a:path>
                <a:path w="1160144" h="821689">
                  <a:moveTo>
                    <a:pt x="944002" y="0"/>
                  </a:moveTo>
                  <a:lnTo>
                    <a:pt x="924042" y="3810"/>
                  </a:lnTo>
                  <a:lnTo>
                    <a:pt x="907724" y="15240"/>
                  </a:lnTo>
                  <a:lnTo>
                    <a:pt x="896714" y="31750"/>
                  </a:lnTo>
                  <a:lnTo>
                    <a:pt x="892674" y="50800"/>
                  </a:lnTo>
                  <a:lnTo>
                    <a:pt x="892674" y="62230"/>
                  </a:lnTo>
                  <a:lnTo>
                    <a:pt x="926683" y="62230"/>
                  </a:lnTo>
                  <a:lnTo>
                    <a:pt x="926683" y="50800"/>
                  </a:lnTo>
                  <a:lnTo>
                    <a:pt x="932330" y="38100"/>
                  </a:lnTo>
                  <a:lnTo>
                    <a:pt x="944047" y="34290"/>
                  </a:lnTo>
                  <a:lnTo>
                    <a:pt x="991932" y="34290"/>
                  </a:lnTo>
                  <a:lnTo>
                    <a:pt x="991394" y="31750"/>
                  </a:lnTo>
                  <a:lnTo>
                    <a:pt x="980371" y="15240"/>
                  </a:lnTo>
                  <a:lnTo>
                    <a:pt x="964023" y="3810"/>
                  </a:lnTo>
                  <a:lnTo>
                    <a:pt x="944002" y="0"/>
                  </a:lnTo>
                  <a:close/>
                </a:path>
                <a:path w="1160144" h="821689">
                  <a:moveTo>
                    <a:pt x="991932" y="34290"/>
                  </a:moveTo>
                  <a:lnTo>
                    <a:pt x="944047" y="34290"/>
                  </a:lnTo>
                  <a:lnTo>
                    <a:pt x="955768" y="38100"/>
                  </a:lnTo>
                  <a:lnTo>
                    <a:pt x="961426" y="50800"/>
                  </a:lnTo>
                  <a:lnTo>
                    <a:pt x="961426" y="62230"/>
                  </a:lnTo>
                  <a:lnTo>
                    <a:pt x="995435" y="62230"/>
                  </a:lnTo>
                  <a:lnTo>
                    <a:pt x="995435" y="50800"/>
                  </a:lnTo>
                  <a:lnTo>
                    <a:pt x="991932" y="34290"/>
                  </a:lnTo>
                  <a:close/>
                </a:path>
              </a:pathLst>
            </a:custGeom>
            <a:solidFill>
              <a:srgbClr val="6400FF"/>
            </a:solidFill>
          </p:spPr>
          <p:txBody>
            <a:bodyPr wrap="square" lIns="0" tIns="0" rIns="0" bIns="0" rtlCol="0"/>
            <a:lstStyle/>
            <a:p>
              <a:endParaRPr sz="372"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pic>
          <p:nvPicPr>
            <p:cNvPr id="124" name="object 47">
              <a:extLst>
                <a:ext uri="{FF2B5EF4-FFF2-40B4-BE49-F238E27FC236}">
                  <a16:creationId xmlns:a16="http://schemas.microsoft.com/office/drawing/2014/main" id="{13671BF4-0F81-5C27-AFE3-9AABFC3C22BF}"/>
                </a:ext>
              </a:extLst>
            </p:cNvPr>
            <p:cNvPicPr/>
            <p:nvPr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66265" y="3166561"/>
              <a:ext cx="68353" cy="68259"/>
            </a:xfrm>
            <a:prstGeom prst="rect">
              <a:avLst/>
            </a:prstGeom>
          </p:spPr>
        </p:pic>
        <p:pic>
          <p:nvPicPr>
            <p:cNvPr id="125" name="object 48">
              <a:extLst>
                <a:ext uri="{FF2B5EF4-FFF2-40B4-BE49-F238E27FC236}">
                  <a16:creationId xmlns:a16="http://schemas.microsoft.com/office/drawing/2014/main" id="{382D4F78-766C-EF96-3E49-2A96A9498B7A}"/>
                </a:ext>
              </a:extLst>
            </p:cNvPr>
            <p:cNvPicPr/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829710" y="3473809"/>
              <a:ext cx="177795" cy="63655"/>
            </a:xfrm>
            <a:prstGeom prst="rect">
              <a:avLst/>
            </a:prstGeom>
          </p:spPr>
        </p:pic>
        <p:sp>
          <p:nvSpPr>
            <p:cNvPr id="126" name="object 49">
              <a:extLst>
                <a:ext uri="{FF2B5EF4-FFF2-40B4-BE49-F238E27FC236}">
                  <a16:creationId xmlns:a16="http://schemas.microsoft.com/office/drawing/2014/main" id="{5B23AA08-1951-7C0B-4200-312C42C81516}"/>
                </a:ext>
              </a:extLst>
            </p:cNvPr>
            <p:cNvSpPr/>
            <p:nvPr/>
          </p:nvSpPr>
          <p:spPr>
            <a:xfrm>
              <a:off x="12774228" y="3533799"/>
              <a:ext cx="288925" cy="85725"/>
            </a:xfrm>
            <a:custGeom>
              <a:avLst/>
              <a:gdLst/>
              <a:ahLst/>
              <a:cxnLst/>
              <a:rect l="l" t="t" r="r" b="b"/>
              <a:pathLst>
                <a:path w="288925" h="85725">
                  <a:moveTo>
                    <a:pt x="272241" y="0"/>
                  </a:moveTo>
                  <a:lnTo>
                    <a:pt x="259730" y="4967"/>
                  </a:lnTo>
                  <a:lnTo>
                    <a:pt x="224971" y="31402"/>
                  </a:lnTo>
                  <a:lnTo>
                    <a:pt x="185782" y="47262"/>
                  </a:lnTo>
                  <a:lnTo>
                    <a:pt x="144377" y="52549"/>
                  </a:lnTo>
                  <a:lnTo>
                    <a:pt x="102973" y="47262"/>
                  </a:lnTo>
                  <a:lnTo>
                    <a:pt x="63784" y="31402"/>
                  </a:lnTo>
                  <a:lnTo>
                    <a:pt x="29025" y="4967"/>
                  </a:lnTo>
                  <a:lnTo>
                    <a:pt x="16513" y="0"/>
                  </a:lnTo>
                  <a:lnTo>
                    <a:pt x="5337" y="5365"/>
                  </a:lnTo>
                  <a:lnTo>
                    <a:pt x="0" y="16549"/>
                  </a:lnTo>
                  <a:lnTo>
                    <a:pt x="5005" y="29040"/>
                  </a:lnTo>
                  <a:lnTo>
                    <a:pt x="40608" y="57203"/>
                  </a:lnTo>
                  <a:lnTo>
                    <a:pt x="80428" y="75979"/>
                  </a:lnTo>
                  <a:lnTo>
                    <a:pt x="122777" y="85367"/>
                  </a:lnTo>
                  <a:lnTo>
                    <a:pt x="165970" y="85367"/>
                  </a:lnTo>
                  <a:lnTo>
                    <a:pt x="208320" y="75979"/>
                  </a:lnTo>
                  <a:lnTo>
                    <a:pt x="248142" y="57203"/>
                  </a:lnTo>
                  <a:lnTo>
                    <a:pt x="283750" y="29040"/>
                  </a:lnTo>
                  <a:lnTo>
                    <a:pt x="288755" y="16549"/>
                  </a:lnTo>
                  <a:lnTo>
                    <a:pt x="283418" y="5365"/>
                  </a:lnTo>
                  <a:lnTo>
                    <a:pt x="272241" y="0"/>
                  </a:lnTo>
                  <a:close/>
                </a:path>
              </a:pathLst>
            </a:custGeom>
            <a:solidFill>
              <a:srgbClr val="6400FF"/>
            </a:solidFill>
          </p:spPr>
          <p:txBody>
            <a:bodyPr wrap="square" lIns="0" tIns="0" rIns="0" bIns="0" rtlCol="0"/>
            <a:lstStyle/>
            <a:p>
              <a:endParaRPr sz="372"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</p:grpSp>
      <p:sp>
        <p:nvSpPr>
          <p:cNvPr id="127" name="object 50">
            <a:extLst>
              <a:ext uri="{FF2B5EF4-FFF2-40B4-BE49-F238E27FC236}">
                <a16:creationId xmlns:a16="http://schemas.microsoft.com/office/drawing/2014/main" id="{3DF68EC9-7F6A-6892-E76D-5CD67575DA71}"/>
              </a:ext>
            </a:extLst>
          </p:cNvPr>
          <p:cNvSpPr/>
          <p:nvPr/>
        </p:nvSpPr>
        <p:spPr>
          <a:xfrm flipH="1">
            <a:off x="1384538" y="1210517"/>
            <a:ext cx="444461" cy="473341"/>
          </a:xfrm>
          <a:custGeom>
            <a:avLst/>
            <a:gdLst/>
            <a:ahLst/>
            <a:cxnLst/>
            <a:rect l="l" t="t" r="r" b="b"/>
            <a:pathLst>
              <a:path w="977265" h="1040764">
                <a:moveTo>
                  <a:pt x="18910" y="382711"/>
                </a:moveTo>
                <a:lnTo>
                  <a:pt x="12099" y="383650"/>
                </a:lnTo>
                <a:lnTo>
                  <a:pt x="6139" y="387075"/>
                </a:lnTo>
                <a:lnTo>
                  <a:pt x="1803" y="392721"/>
                </a:lnTo>
                <a:lnTo>
                  <a:pt x="0" y="399498"/>
                </a:lnTo>
                <a:lnTo>
                  <a:pt x="866" y="406220"/>
                </a:lnTo>
                <a:lnTo>
                  <a:pt x="4083" y="412008"/>
                </a:lnTo>
                <a:lnTo>
                  <a:pt x="4159" y="412145"/>
                </a:lnTo>
                <a:lnTo>
                  <a:pt x="9635" y="416531"/>
                </a:lnTo>
                <a:lnTo>
                  <a:pt x="62901" y="443421"/>
                </a:lnTo>
                <a:lnTo>
                  <a:pt x="62907" y="607782"/>
                </a:lnTo>
                <a:lnTo>
                  <a:pt x="66314" y="613698"/>
                </a:lnTo>
                <a:lnTo>
                  <a:pt x="209444" y="696334"/>
                </a:lnTo>
                <a:lnTo>
                  <a:pt x="209263" y="696334"/>
                </a:lnTo>
                <a:lnTo>
                  <a:pt x="209263" y="867973"/>
                </a:lnTo>
                <a:lnTo>
                  <a:pt x="212687" y="873889"/>
                </a:lnTo>
                <a:lnTo>
                  <a:pt x="355625" y="956410"/>
                </a:lnTo>
                <a:lnTo>
                  <a:pt x="355625" y="1032177"/>
                </a:lnTo>
                <a:lnTo>
                  <a:pt x="363645" y="1040209"/>
                </a:lnTo>
                <a:lnTo>
                  <a:pt x="383467" y="1040209"/>
                </a:lnTo>
                <a:lnTo>
                  <a:pt x="391488" y="1032177"/>
                </a:lnTo>
                <a:lnTo>
                  <a:pt x="391488" y="956410"/>
                </a:lnTo>
                <a:lnTo>
                  <a:pt x="445290" y="925354"/>
                </a:lnTo>
                <a:lnTo>
                  <a:pt x="373561" y="925354"/>
                </a:lnTo>
                <a:lnTo>
                  <a:pt x="245136" y="851209"/>
                </a:lnTo>
                <a:lnTo>
                  <a:pt x="245136" y="702921"/>
                </a:lnTo>
                <a:lnTo>
                  <a:pt x="310500" y="665173"/>
                </a:lnTo>
                <a:lnTo>
                  <a:pt x="227199" y="665173"/>
                </a:lnTo>
                <a:lnTo>
                  <a:pt x="98764" y="591018"/>
                </a:lnTo>
                <a:lnTo>
                  <a:pt x="98764" y="442740"/>
                </a:lnTo>
                <a:lnTo>
                  <a:pt x="151991" y="412008"/>
                </a:lnTo>
                <a:lnTo>
                  <a:pt x="80251" y="412008"/>
                </a:lnTo>
                <a:lnTo>
                  <a:pt x="25802" y="384522"/>
                </a:lnTo>
                <a:lnTo>
                  <a:pt x="18910" y="382711"/>
                </a:lnTo>
                <a:close/>
              </a:path>
              <a:path w="977265" h="1040764">
                <a:moveTo>
                  <a:pt x="597370" y="878978"/>
                </a:moveTo>
                <a:lnTo>
                  <a:pt x="525630" y="878978"/>
                </a:lnTo>
                <a:lnTo>
                  <a:pt x="648328" y="949814"/>
                </a:lnTo>
                <a:lnTo>
                  <a:pt x="648328" y="1032177"/>
                </a:lnTo>
                <a:lnTo>
                  <a:pt x="656359" y="1040209"/>
                </a:lnTo>
                <a:lnTo>
                  <a:pt x="676170" y="1040209"/>
                </a:lnTo>
                <a:lnTo>
                  <a:pt x="684201" y="1032177"/>
                </a:lnTo>
                <a:lnTo>
                  <a:pt x="684201" y="949814"/>
                </a:lnTo>
                <a:lnTo>
                  <a:pt x="737970" y="918767"/>
                </a:lnTo>
                <a:lnTo>
                  <a:pt x="666265" y="918767"/>
                </a:lnTo>
                <a:lnTo>
                  <a:pt x="597370" y="878978"/>
                </a:lnTo>
                <a:close/>
              </a:path>
              <a:path w="977265" h="1040764">
                <a:moveTo>
                  <a:pt x="456843" y="628755"/>
                </a:moveTo>
                <a:lnTo>
                  <a:pt x="373561" y="628755"/>
                </a:lnTo>
                <a:lnTo>
                  <a:pt x="501976" y="702921"/>
                </a:lnTo>
                <a:lnTo>
                  <a:pt x="501976" y="851209"/>
                </a:lnTo>
                <a:lnTo>
                  <a:pt x="373561" y="925354"/>
                </a:lnTo>
                <a:lnTo>
                  <a:pt x="445290" y="925354"/>
                </a:lnTo>
                <a:lnTo>
                  <a:pt x="525630" y="878978"/>
                </a:lnTo>
                <a:lnTo>
                  <a:pt x="597370" y="878978"/>
                </a:lnTo>
                <a:lnTo>
                  <a:pt x="537850" y="844602"/>
                </a:lnTo>
                <a:lnTo>
                  <a:pt x="537850" y="696334"/>
                </a:lnTo>
                <a:lnTo>
                  <a:pt x="591812" y="665173"/>
                </a:lnTo>
                <a:lnTo>
                  <a:pt x="519913" y="665173"/>
                </a:lnTo>
                <a:lnTo>
                  <a:pt x="456843" y="628755"/>
                </a:lnTo>
                <a:close/>
              </a:path>
              <a:path w="977265" h="1040764">
                <a:moveTo>
                  <a:pt x="860398" y="877365"/>
                </a:moveTo>
                <a:lnTo>
                  <a:pt x="809674" y="877365"/>
                </a:lnTo>
                <a:lnTo>
                  <a:pt x="852322" y="920013"/>
                </a:lnTo>
                <a:lnTo>
                  <a:pt x="858308" y="923876"/>
                </a:lnTo>
                <a:lnTo>
                  <a:pt x="865074" y="925105"/>
                </a:lnTo>
                <a:lnTo>
                  <a:pt x="871807" y="923706"/>
                </a:lnTo>
                <a:lnTo>
                  <a:pt x="877693" y="919689"/>
                </a:lnTo>
                <a:lnTo>
                  <a:pt x="881509" y="913819"/>
                </a:lnTo>
                <a:lnTo>
                  <a:pt x="882782" y="907171"/>
                </a:lnTo>
                <a:lnTo>
                  <a:pt x="881509" y="900523"/>
                </a:lnTo>
                <a:lnTo>
                  <a:pt x="877693" y="894653"/>
                </a:lnTo>
                <a:lnTo>
                  <a:pt x="860398" y="877365"/>
                </a:lnTo>
                <a:close/>
              </a:path>
              <a:path w="977265" h="1040764">
                <a:moveTo>
                  <a:pt x="822522" y="824268"/>
                </a:moveTo>
                <a:lnTo>
                  <a:pt x="802711" y="824268"/>
                </a:lnTo>
                <a:lnTo>
                  <a:pt x="794679" y="832309"/>
                </a:lnTo>
                <a:lnTo>
                  <a:pt x="794679" y="844602"/>
                </a:lnTo>
                <a:lnTo>
                  <a:pt x="666265" y="918767"/>
                </a:lnTo>
                <a:lnTo>
                  <a:pt x="737970" y="918767"/>
                </a:lnTo>
                <a:lnTo>
                  <a:pt x="809674" y="877365"/>
                </a:lnTo>
                <a:lnTo>
                  <a:pt x="860398" y="877365"/>
                </a:lnTo>
                <a:lnTo>
                  <a:pt x="830553" y="847534"/>
                </a:lnTo>
                <a:lnTo>
                  <a:pt x="830553" y="832309"/>
                </a:lnTo>
                <a:lnTo>
                  <a:pt x="822522" y="824268"/>
                </a:lnTo>
                <a:close/>
              </a:path>
              <a:path w="977265" h="1040764">
                <a:moveTo>
                  <a:pt x="822522" y="771746"/>
                </a:moveTo>
                <a:lnTo>
                  <a:pt x="802711" y="771746"/>
                </a:lnTo>
                <a:lnTo>
                  <a:pt x="794679" y="779777"/>
                </a:lnTo>
                <a:lnTo>
                  <a:pt x="794679" y="799588"/>
                </a:lnTo>
                <a:lnTo>
                  <a:pt x="802711" y="807619"/>
                </a:lnTo>
                <a:lnTo>
                  <a:pt x="822522" y="807619"/>
                </a:lnTo>
                <a:lnTo>
                  <a:pt x="830553" y="799588"/>
                </a:lnTo>
                <a:lnTo>
                  <a:pt x="830563" y="779777"/>
                </a:lnTo>
                <a:lnTo>
                  <a:pt x="822522" y="771746"/>
                </a:lnTo>
                <a:close/>
              </a:path>
              <a:path w="977265" h="1040764">
                <a:moveTo>
                  <a:pt x="738164" y="622180"/>
                </a:moveTo>
                <a:lnTo>
                  <a:pt x="666265" y="622180"/>
                </a:lnTo>
                <a:lnTo>
                  <a:pt x="794679" y="696334"/>
                </a:lnTo>
                <a:lnTo>
                  <a:pt x="794679" y="742417"/>
                </a:lnTo>
                <a:lnTo>
                  <a:pt x="802711" y="750448"/>
                </a:lnTo>
                <a:lnTo>
                  <a:pt x="822522" y="750448"/>
                </a:lnTo>
                <a:lnTo>
                  <a:pt x="830553" y="742417"/>
                </a:lnTo>
                <a:lnTo>
                  <a:pt x="830553" y="696334"/>
                </a:lnTo>
                <a:lnTo>
                  <a:pt x="830371" y="696334"/>
                </a:lnTo>
                <a:lnTo>
                  <a:pt x="884340" y="665173"/>
                </a:lnTo>
                <a:lnTo>
                  <a:pt x="812616" y="665173"/>
                </a:lnTo>
                <a:lnTo>
                  <a:pt x="738164" y="622180"/>
                </a:lnTo>
                <a:close/>
              </a:path>
              <a:path w="977265" h="1040764">
                <a:moveTo>
                  <a:pt x="298955" y="368585"/>
                </a:moveTo>
                <a:lnTo>
                  <a:pt x="227199" y="368585"/>
                </a:lnTo>
                <a:lnTo>
                  <a:pt x="355625" y="442740"/>
                </a:lnTo>
                <a:lnTo>
                  <a:pt x="355625" y="591018"/>
                </a:lnTo>
                <a:lnTo>
                  <a:pt x="227199" y="665173"/>
                </a:lnTo>
                <a:lnTo>
                  <a:pt x="310500" y="665173"/>
                </a:lnTo>
                <a:lnTo>
                  <a:pt x="373561" y="628755"/>
                </a:lnTo>
                <a:lnTo>
                  <a:pt x="456843" y="628755"/>
                </a:lnTo>
                <a:lnTo>
                  <a:pt x="391488" y="591018"/>
                </a:lnTo>
                <a:lnTo>
                  <a:pt x="391488" y="442740"/>
                </a:lnTo>
                <a:lnTo>
                  <a:pt x="445328" y="411652"/>
                </a:lnTo>
                <a:lnTo>
                  <a:pt x="373561" y="411652"/>
                </a:lnTo>
                <a:lnTo>
                  <a:pt x="298955" y="368585"/>
                </a:lnTo>
                <a:close/>
              </a:path>
              <a:path w="977265" h="1040764">
                <a:moveTo>
                  <a:pt x="592048" y="368585"/>
                </a:moveTo>
                <a:lnTo>
                  <a:pt x="519913" y="368585"/>
                </a:lnTo>
                <a:lnTo>
                  <a:pt x="648328" y="442740"/>
                </a:lnTo>
                <a:lnTo>
                  <a:pt x="648328" y="591018"/>
                </a:lnTo>
                <a:lnTo>
                  <a:pt x="519913" y="665173"/>
                </a:lnTo>
                <a:lnTo>
                  <a:pt x="591812" y="665173"/>
                </a:lnTo>
                <a:lnTo>
                  <a:pt x="666265" y="622180"/>
                </a:lnTo>
                <a:lnTo>
                  <a:pt x="738164" y="622180"/>
                </a:lnTo>
                <a:lnTo>
                  <a:pt x="684201" y="591018"/>
                </a:lnTo>
                <a:lnTo>
                  <a:pt x="684201" y="442740"/>
                </a:lnTo>
                <a:lnTo>
                  <a:pt x="738399" y="411442"/>
                </a:lnTo>
                <a:lnTo>
                  <a:pt x="666265" y="411442"/>
                </a:lnTo>
                <a:lnTo>
                  <a:pt x="592048" y="368585"/>
                </a:lnTo>
                <a:close/>
              </a:path>
              <a:path w="977265" h="1040764">
                <a:moveTo>
                  <a:pt x="884340" y="368585"/>
                </a:moveTo>
                <a:lnTo>
                  <a:pt x="812616" y="368585"/>
                </a:lnTo>
                <a:lnTo>
                  <a:pt x="941042" y="442740"/>
                </a:lnTo>
                <a:lnTo>
                  <a:pt x="941042" y="591018"/>
                </a:lnTo>
                <a:lnTo>
                  <a:pt x="812616" y="665173"/>
                </a:lnTo>
                <a:lnTo>
                  <a:pt x="884340" y="665173"/>
                </a:lnTo>
                <a:lnTo>
                  <a:pt x="973491" y="613698"/>
                </a:lnTo>
                <a:lnTo>
                  <a:pt x="976904" y="607782"/>
                </a:lnTo>
                <a:lnTo>
                  <a:pt x="976904" y="425987"/>
                </a:lnTo>
                <a:lnTo>
                  <a:pt x="973491" y="420060"/>
                </a:lnTo>
                <a:lnTo>
                  <a:pt x="884340" y="368585"/>
                </a:lnTo>
                <a:close/>
              </a:path>
              <a:path w="977265" h="1040764">
                <a:moveTo>
                  <a:pt x="237105" y="269017"/>
                </a:moveTo>
                <a:lnTo>
                  <a:pt x="217294" y="269017"/>
                </a:lnTo>
                <a:lnTo>
                  <a:pt x="209263" y="277049"/>
                </a:lnTo>
                <a:lnTo>
                  <a:pt x="209263" y="337528"/>
                </a:lnTo>
                <a:lnTo>
                  <a:pt x="80251" y="412008"/>
                </a:lnTo>
                <a:lnTo>
                  <a:pt x="151991" y="412008"/>
                </a:lnTo>
                <a:lnTo>
                  <a:pt x="227199" y="368585"/>
                </a:lnTo>
                <a:lnTo>
                  <a:pt x="298955" y="368585"/>
                </a:lnTo>
                <a:lnTo>
                  <a:pt x="245154" y="337528"/>
                </a:lnTo>
                <a:lnTo>
                  <a:pt x="245136" y="277049"/>
                </a:lnTo>
                <a:lnTo>
                  <a:pt x="237105" y="269017"/>
                </a:lnTo>
                <a:close/>
              </a:path>
              <a:path w="977265" h="1040764">
                <a:moveTo>
                  <a:pt x="445273" y="115064"/>
                </a:moveTo>
                <a:lnTo>
                  <a:pt x="373561" y="115064"/>
                </a:lnTo>
                <a:lnTo>
                  <a:pt x="501976" y="189229"/>
                </a:lnTo>
                <a:lnTo>
                  <a:pt x="501958" y="337528"/>
                </a:lnTo>
                <a:lnTo>
                  <a:pt x="373561" y="411652"/>
                </a:lnTo>
                <a:lnTo>
                  <a:pt x="445328" y="411652"/>
                </a:lnTo>
                <a:lnTo>
                  <a:pt x="519913" y="368585"/>
                </a:lnTo>
                <a:lnTo>
                  <a:pt x="592048" y="368585"/>
                </a:lnTo>
                <a:lnTo>
                  <a:pt x="537850" y="337288"/>
                </a:lnTo>
                <a:lnTo>
                  <a:pt x="537850" y="188989"/>
                </a:lnTo>
                <a:lnTo>
                  <a:pt x="591447" y="158047"/>
                </a:lnTo>
                <a:lnTo>
                  <a:pt x="519714" y="158047"/>
                </a:lnTo>
                <a:lnTo>
                  <a:pt x="445273" y="115064"/>
                </a:lnTo>
                <a:close/>
              </a:path>
              <a:path w="977265" h="1040764">
                <a:moveTo>
                  <a:pt x="738002" y="114855"/>
                </a:moveTo>
                <a:lnTo>
                  <a:pt x="666265" y="114855"/>
                </a:lnTo>
                <a:lnTo>
                  <a:pt x="794679" y="188989"/>
                </a:lnTo>
                <a:lnTo>
                  <a:pt x="794679" y="337288"/>
                </a:lnTo>
                <a:lnTo>
                  <a:pt x="666265" y="411442"/>
                </a:lnTo>
                <a:lnTo>
                  <a:pt x="738399" y="411442"/>
                </a:lnTo>
                <a:lnTo>
                  <a:pt x="812616" y="368585"/>
                </a:lnTo>
                <a:lnTo>
                  <a:pt x="884340" y="368585"/>
                </a:lnTo>
                <a:lnTo>
                  <a:pt x="830553" y="337528"/>
                </a:lnTo>
                <a:lnTo>
                  <a:pt x="830553" y="172235"/>
                </a:lnTo>
                <a:lnTo>
                  <a:pt x="827139" y="166309"/>
                </a:lnTo>
                <a:lnTo>
                  <a:pt x="738002" y="114855"/>
                </a:lnTo>
                <a:close/>
              </a:path>
              <a:path w="977265" h="1040764">
                <a:moveTo>
                  <a:pt x="172948" y="125747"/>
                </a:moveTo>
                <a:lnTo>
                  <a:pt x="166076" y="126009"/>
                </a:lnTo>
                <a:lnTo>
                  <a:pt x="159800" y="128827"/>
                </a:lnTo>
                <a:lnTo>
                  <a:pt x="154919" y="134016"/>
                </a:lnTo>
                <a:lnTo>
                  <a:pt x="152440" y="140694"/>
                </a:lnTo>
                <a:lnTo>
                  <a:pt x="152702" y="147568"/>
                </a:lnTo>
                <a:lnTo>
                  <a:pt x="155520" y="153842"/>
                </a:lnTo>
                <a:lnTo>
                  <a:pt x="160709" y="158717"/>
                </a:lnTo>
                <a:lnTo>
                  <a:pt x="209263" y="188852"/>
                </a:lnTo>
                <a:lnTo>
                  <a:pt x="209263" y="225678"/>
                </a:lnTo>
                <a:lnTo>
                  <a:pt x="217294" y="233710"/>
                </a:lnTo>
                <a:lnTo>
                  <a:pt x="237105" y="233710"/>
                </a:lnTo>
                <a:lnTo>
                  <a:pt x="245136" y="225678"/>
                </a:lnTo>
                <a:lnTo>
                  <a:pt x="245136" y="189229"/>
                </a:lnTo>
                <a:lnTo>
                  <a:pt x="299132" y="158047"/>
                </a:lnTo>
                <a:lnTo>
                  <a:pt x="227659" y="158047"/>
                </a:lnTo>
                <a:lnTo>
                  <a:pt x="179620" y="128226"/>
                </a:lnTo>
                <a:lnTo>
                  <a:pt x="172948" y="125747"/>
                </a:lnTo>
                <a:close/>
              </a:path>
              <a:path w="977265" h="1040764">
                <a:moveTo>
                  <a:pt x="383467" y="0"/>
                </a:moveTo>
                <a:lnTo>
                  <a:pt x="363645" y="0"/>
                </a:lnTo>
                <a:lnTo>
                  <a:pt x="355625" y="8031"/>
                </a:lnTo>
                <a:lnTo>
                  <a:pt x="355625" y="84007"/>
                </a:lnTo>
                <a:lnTo>
                  <a:pt x="227379" y="158047"/>
                </a:lnTo>
                <a:lnTo>
                  <a:pt x="299132" y="158047"/>
                </a:lnTo>
                <a:lnTo>
                  <a:pt x="373561" y="115064"/>
                </a:lnTo>
                <a:lnTo>
                  <a:pt x="445273" y="115064"/>
                </a:lnTo>
                <a:lnTo>
                  <a:pt x="391488" y="84007"/>
                </a:lnTo>
                <a:lnTo>
                  <a:pt x="391488" y="8031"/>
                </a:lnTo>
                <a:lnTo>
                  <a:pt x="383467" y="0"/>
                </a:lnTo>
                <a:close/>
              </a:path>
              <a:path w="977265" h="1040764">
                <a:moveTo>
                  <a:pt x="676170" y="0"/>
                </a:moveTo>
                <a:lnTo>
                  <a:pt x="656359" y="0"/>
                </a:lnTo>
                <a:lnTo>
                  <a:pt x="648328" y="8031"/>
                </a:lnTo>
                <a:lnTo>
                  <a:pt x="648328" y="83798"/>
                </a:lnTo>
                <a:lnTo>
                  <a:pt x="519714" y="158047"/>
                </a:lnTo>
                <a:lnTo>
                  <a:pt x="591447" y="158047"/>
                </a:lnTo>
                <a:lnTo>
                  <a:pt x="666265" y="114855"/>
                </a:lnTo>
                <a:lnTo>
                  <a:pt x="738002" y="114855"/>
                </a:lnTo>
                <a:lnTo>
                  <a:pt x="684201" y="83798"/>
                </a:lnTo>
                <a:lnTo>
                  <a:pt x="684201" y="8031"/>
                </a:lnTo>
                <a:lnTo>
                  <a:pt x="676170" y="0"/>
                </a:lnTo>
                <a:close/>
              </a:path>
            </a:pathLst>
          </a:custGeom>
          <a:solidFill>
            <a:srgbClr val="6400FF"/>
          </a:solidFill>
        </p:spPr>
        <p:txBody>
          <a:bodyPr wrap="square" lIns="0" tIns="0" rIns="0" bIns="0" rtlCol="0"/>
          <a:lstStyle/>
          <a:p>
            <a:endParaRPr sz="372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grpSp>
        <p:nvGrpSpPr>
          <p:cNvPr id="128" name="object 51">
            <a:extLst>
              <a:ext uri="{FF2B5EF4-FFF2-40B4-BE49-F238E27FC236}">
                <a16:creationId xmlns:a16="http://schemas.microsoft.com/office/drawing/2014/main" id="{650D9759-5A7F-94A2-DA63-8401AC0E6B9E}"/>
              </a:ext>
            </a:extLst>
          </p:cNvPr>
          <p:cNvGrpSpPr/>
          <p:nvPr/>
        </p:nvGrpSpPr>
        <p:grpSpPr>
          <a:xfrm flipH="1">
            <a:off x="3990758" y="2991807"/>
            <a:ext cx="471897" cy="472763"/>
            <a:chOff x="10383881" y="6578283"/>
            <a:chExt cx="1037590" cy="1039494"/>
          </a:xfrm>
        </p:grpSpPr>
        <p:sp>
          <p:nvSpPr>
            <p:cNvPr id="129" name="object 52">
              <a:extLst>
                <a:ext uri="{FF2B5EF4-FFF2-40B4-BE49-F238E27FC236}">
                  <a16:creationId xmlns:a16="http://schemas.microsoft.com/office/drawing/2014/main" id="{6B7EE6B3-07AD-9256-A44A-27AEC80B6BFF}"/>
                </a:ext>
              </a:extLst>
            </p:cNvPr>
            <p:cNvSpPr/>
            <p:nvPr/>
          </p:nvSpPr>
          <p:spPr>
            <a:xfrm>
              <a:off x="10477078" y="6671484"/>
              <a:ext cx="851535" cy="853440"/>
            </a:xfrm>
            <a:custGeom>
              <a:avLst/>
              <a:gdLst/>
              <a:ahLst/>
              <a:cxnLst/>
              <a:rect l="l" t="t" r="r" b="b"/>
              <a:pathLst>
                <a:path w="851534" h="853440">
                  <a:moveTo>
                    <a:pt x="747348" y="852874"/>
                  </a:moveTo>
                  <a:lnTo>
                    <a:pt x="103756" y="852874"/>
                  </a:lnTo>
                  <a:lnTo>
                    <a:pt x="76166" y="825228"/>
                  </a:lnTo>
                  <a:lnTo>
                    <a:pt x="51881" y="800898"/>
                  </a:lnTo>
                  <a:lnTo>
                    <a:pt x="27595" y="776569"/>
                  </a:lnTo>
                  <a:lnTo>
                    <a:pt x="0" y="748930"/>
                  </a:lnTo>
                  <a:lnTo>
                    <a:pt x="0" y="103944"/>
                  </a:lnTo>
                  <a:lnTo>
                    <a:pt x="27595" y="76304"/>
                  </a:lnTo>
                  <a:lnTo>
                    <a:pt x="51881" y="51976"/>
                  </a:lnTo>
                  <a:lnTo>
                    <a:pt x="76166" y="27645"/>
                  </a:lnTo>
                  <a:lnTo>
                    <a:pt x="103756" y="0"/>
                  </a:lnTo>
                  <a:lnTo>
                    <a:pt x="747348" y="0"/>
                  </a:lnTo>
                  <a:lnTo>
                    <a:pt x="774938" y="27645"/>
                  </a:lnTo>
                  <a:lnTo>
                    <a:pt x="799221" y="51976"/>
                  </a:lnTo>
                  <a:lnTo>
                    <a:pt x="823505" y="76304"/>
                  </a:lnTo>
                  <a:lnTo>
                    <a:pt x="851094" y="103944"/>
                  </a:lnTo>
                  <a:lnTo>
                    <a:pt x="851094" y="748752"/>
                  </a:lnTo>
                  <a:lnTo>
                    <a:pt x="823505" y="776397"/>
                  </a:lnTo>
                  <a:lnTo>
                    <a:pt x="799221" y="800728"/>
                  </a:lnTo>
                  <a:lnTo>
                    <a:pt x="774938" y="825056"/>
                  </a:lnTo>
                  <a:lnTo>
                    <a:pt x="747348" y="852696"/>
                  </a:lnTo>
                  <a:lnTo>
                    <a:pt x="747348" y="852874"/>
                  </a:lnTo>
                  <a:close/>
                </a:path>
              </a:pathLst>
            </a:custGeom>
            <a:ln w="31412">
              <a:solidFill>
                <a:srgbClr val="6400FF"/>
              </a:solidFill>
            </a:ln>
          </p:spPr>
          <p:txBody>
            <a:bodyPr wrap="square" lIns="0" tIns="0" rIns="0" bIns="0" rtlCol="0"/>
            <a:lstStyle/>
            <a:p>
              <a:endParaRPr sz="372"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130" name="object 53">
              <a:extLst>
                <a:ext uri="{FF2B5EF4-FFF2-40B4-BE49-F238E27FC236}">
                  <a16:creationId xmlns:a16="http://schemas.microsoft.com/office/drawing/2014/main" id="{476D6759-9571-807F-702E-FDAC3E0295C5}"/>
                </a:ext>
              </a:extLst>
            </p:cNvPr>
            <p:cNvSpPr/>
            <p:nvPr/>
          </p:nvSpPr>
          <p:spPr>
            <a:xfrm>
              <a:off x="10596744" y="6791373"/>
              <a:ext cx="612140" cy="613410"/>
            </a:xfrm>
            <a:custGeom>
              <a:avLst/>
              <a:gdLst/>
              <a:ahLst/>
              <a:cxnLst/>
              <a:rect l="l" t="t" r="r" b="b"/>
              <a:pathLst>
                <a:path w="612140" h="613409">
                  <a:moveTo>
                    <a:pt x="571657" y="613101"/>
                  </a:moveTo>
                  <a:lnTo>
                    <a:pt x="40113" y="613101"/>
                  </a:lnTo>
                  <a:lnTo>
                    <a:pt x="29418" y="602385"/>
                  </a:lnTo>
                  <a:lnTo>
                    <a:pt x="20053" y="593004"/>
                  </a:lnTo>
                  <a:lnTo>
                    <a:pt x="10689" y="583624"/>
                  </a:lnTo>
                  <a:lnTo>
                    <a:pt x="0" y="572914"/>
                  </a:lnTo>
                  <a:lnTo>
                    <a:pt x="0" y="40187"/>
                  </a:lnTo>
                  <a:lnTo>
                    <a:pt x="10689" y="29475"/>
                  </a:lnTo>
                  <a:lnTo>
                    <a:pt x="20053" y="20093"/>
                  </a:lnTo>
                  <a:lnTo>
                    <a:pt x="29418" y="10711"/>
                  </a:lnTo>
                  <a:lnTo>
                    <a:pt x="40113" y="0"/>
                  </a:lnTo>
                  <a:lnTo>
                    <a:pt x="571657" y="0"/>
                  </a:lnTo>
                  <a:lnTo>
                    <a:pt x="611771" y="40187"/>
                  </a:lnTo>
                  <a:lnTo>
                    <a:pt x="611771" y="572736"/>
                  </a:lnTo>
                  <a:lnTo>
                    <a:pt x="571657" y="612923"/>
                  </a:lnTo>
                  <a:lnTo>
                    <a:pt x="571657" y="613101"/>
                  </a:lnTo>
                  <a:close/>
                </a:path>
              </a:pathLst>
            </a:custGeom>
            <a:ln w="31412">
              <a:solidFill>
                <a:srgbClr val="6400FF"/>
              </a:solidFill>
            </a:ln>
          </p:spPr>
          <p:txBody>
            <a:bodyPr wrap="square" lIns="0" tIns="0" rIns="0" bIns="0" rtlCol="0"/>
            <a:lstStyle/>
            <a:p>
              <a:endParaRPr sz="372"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131" name="object 54">
              <a:extLst>
                <a:ext uri="{FF2B5EF4-FFF2-40B4-BE49-F238E27FC236}">
                  <a16:creationId xmlns:a16="http://schemas.microsoft.com/office/drawing/2014/main" id="{5C503347-AAB1-35B2-9CF3-3057A117146D}"/>
                </a:ext>
              </a:extLst>
            </p:cNvPr>
            <p:cNvSpPr/>
            <p:nvPr/>
          </p:nvSpPr>
          <p:spPr>
            <a:xfrm>
              <a:off x="11158026" y="6578283"/>
              <a:ext cx="0" cy="93345"/>
            </a:xfrm>
            <a:custGeom>
              <a:avLst/>
              <a:gdLst/>
              <a:ahLst/>
              <a:cxnLst/>
              <a:rect l="l" t="t" r="r" b="b"/>
              <a:pathLst>
                <a:path h="93345">
                  <a:moveTo>
                    <a:pt x="0" y="0"/>
                  </a:moveTo>
                  <a:lnTo>
                    <a:pt x="0" y="93201"/>
                  </a:lnTo>
                </a:path>
              </a:pathLst>
            </a:custGeom>
            <a:ln w="31412">
              <a:solidFill>
                <a:srgbClr val="6400FF"/>
              </a:solidFill>
            </a:ln>
          </p:spPr>
          <p:txBody>
            <a:bodyPr wrap="square" lIns="0" tIns="0" rIns="0" bIns="0" rtlCol="0"/>
            <a:lstStyle/>
            <a:p>
              <a:endParaRPr sz="372"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132" name="object 55">
              <a:extLst>
                <a:ext uri="{FF2B5EF4-FFF2-40B4-BE49-F238E27FC236}">
                  <a16:creationId xmlns:a16="http://schemas.microsoft.com/office/drawing/2014/main" id="{99DAE03D-4FC8-701D-C340-20F2F4063451}"/>
                </a:ext>
              </a:extLst>
            </p:cNvPr>
            <p:cNvSpPr/>
            <p:nvPr/>
          </p:nvSpPr>
          <p:spPr>
            <a:xfrm>
              <a:off x="10987705" y="6578283"/>
              <a:ext cx="0" cy="93345"/>
            </a:xfrm>
            <a:custGeom>
              <a:avLst/>
              <a:gdLst/>
              <a:ahLst/>
              <a:cxnLst/>
              <a:rect l="l" t="t" r="r" b="b"/>
              <a:pathLst>
                <a:path h="93345">
                  <a:moveTo>
                    <a:pt x="0" y="0"/>
                  </a:moveTo>
                  <a:lnTo>
                    <a:pt x="0" y="93201"/>
                  </a:lnTo>
                </a:path>
              </a:pathLst>
            </a:custGeom>
            <a:ln w="31412">
              <a:solidFill>
                <a:srgbClr val="6400FF"/>
              </a:solidFill>
            </a:ln>
          </p:spPr>
          <p:txBody>
            <a:bodyPr wrap="square" lIns="0" tIns="0" rIns="0" bIns="0" rtlCol="0"/>
            <a:lstStyle/>
            <a:p>
              <a:endParaRPr sz="372"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133" name="object 56">
              <a:extLst>
                <a:ext uri="{FF2B5EF4-FFF2-40B4-BE49-F238E27FC236}">
                  <a16:creationId xmlns:a16="http://schemas.microsoft.com/office/drawing/2014/main" id="{1E462278-EAC3-B0A8-CA37-DE913C617DC5}"/>
                </a:ext>
              </a:extLst>
            </p:cNvPr>
            <p:cNvSpPr/>
            <p:nvPr/>
          </p:nvSpPr>
          <p:spPr>
            <a:xfrm>
              <a:off x="10817555" y="6578283"/>
              <a:ext cx="0" cy="93345"/>
            </a:xfrm>
            <a:custGeom>
              <a:avLst/>
              <a:gdLst/>
              <a:ahLst/>
              <a:cxnLst/>
              <a:rect l="l" t="t" r="r" b="b"/>
              <a:pathLst>
                <a:path h="93345">
                  <a:moveTo>
                    <a:pt x="0" y="0"/>
                  </a:moveTo>
                  <a:lnTo>
                    <a:pt x="0" y="93201"/>
                  </a:lnTo>
                </a:path>
              </a:pathLst>
            </a:custGeom>
            <a:ln w="31412">
              <a:solidFill>
                <a:srgbClr val="6400FF"/>
              </a:solidFill>
            </a:ln>
          </p:spPr>
          <p:txBody>
            <a:bodyPr wrap="square" lIns="0" tIns="0" rIns="0" bIns="0" rtlCol="0"/>
            <a:lstStyle/>
            <a:p>
              <a:endParaRPr sz="372"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134" name="object 57">
              <a:extLst>
                <a:ext uri="{FF2B5EF4-FFF2-40B4-BE49-F238E27FC236}">
                  <a16:creationId xmlns:a16="http://schemas.microsoft.com/office/drawing/2014/main" id="{37E8F4E3-8AF2-6E8F-C6EC-132E5CCD6FF1}"/>
                </a:ext>
              </a:extLst>
            </p:cNvPr>
            <p:cNvSpPr/>
            <p:nvPr/>
          </p:nvSpPr>
          <p:spPr>
            <a:xfrm>
              <a:off x="10647232" y="6578283"/>
              <a:ext cx="0" cy="93345"/>
            </a:xfrm>
            <a:custGeom>
              <a:avLst/>
              <a:gdLst/>
              <a:ahLst/>
              <a:cxnLst/>
              <a:rect l="l" t="t" r="r" b="b"/>
              <a:pathLst>
                <a:path h="93345">
                  <a:moveTo>
                    <a:pt x="0" y="0"/>
                  </a:moveTo>
                  <a:lnTo>
                    <a:pt x="0" y="93201"/>
                  </a:lnTo>
                </a:path>
              </a:pathLst>
            </a:custGeom>
            <a:ln w="31412">
              <a:solidFill>
                <a:srgbClr val="6400FF"/>
              </a:solidFill>
            </a:ln>
          </p:spPr>
          <p:txBody>
            <a:bodyPr wrap="square" lIns="0" tIns="0" rIns="0" bIns="0" rtlCol="0"/>
            <a:lstStyle/>
            <a:p>
              <a:endParaRPr sz="372"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135" name="object 58">
              <a:extLst>
                <a:ext uri="{FF2B5EF4-FFF2-40B4-BE49-F238E27FC236}">
                  <a16:creationId xmlns:a16="http://schemas.microsoft.com/office/drawing/2014/main" id="{EE02F763-E304-F9F0-3749-402C01FC484A}"/>
                </a:ext>
              </a:extLst>
            </p:cNvPr>
            <p:cNvSpPr/>
            <p:nvPr/>
          </p:nvSpPr>
          <p:spPr>
            <a:xfrm>
              <a:off x="10647232" y="7524353"/>
              <a:ext cx="0" cy="93980"/>
            </a:xfrm>
            <a:custGeom>
              <a:avLst/>
              <a:gdLst/>
              <a:ahLst/>
              <a:cxnLst/>
              <a:rect l="l" t="t" r="r" b="b"/>
              <a:pathLst>
                <a:path h="93979">
                  <a:moveTo>
                    <a:pt x="0" y="93379"/>
                  </a:moveTo>
                  <a:lnTo>
                    <a:pt x="0" y="0"/>
                  </a:lnTo>
                </a:path>
              </a:pathLst>
            </a:custGeom>
            <a:ln w="31412">
              <a:solidFill>
                <a:srgbClr val="6400FF"/>
              </a:solidFill>
            </a:ln>
          </p:spPr>
          <p:txBody>
            <a:bodyPr wrap="square" lIns="0" tIns="0" rIns="0" bIns="0" rtlCol="0"/>
            <a:lstStyle/>
            <a:p>
              <a:endParaRPr sz="372"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136" name="object 59">
              <a:extLst>
                <a:ext uri="{FF2B5EF4-FFF2-40B4-BE49-F238E27FC236}">
                  <a16:creationId xmlns:a16="http://schemas.microsoft.com/office/drawing/2014/main" id="{40D9F1C0-82B4-AC7A-AFBC-850E42D20CF2}"/>
                </a:ext>
              </a:extLst>
            </p:cNvPr>
            <p:cNvSpPr/>
            <p:nvPr/>
          </p:nvSpPr>
          <p:spPr>
            <a:xfrm>
              <a:off x="10817555" y="7524353"/>
              <a:ext cx="0" cy="93980"/>
            </a:xfrm>
            <a:custGeom>
              <a:avLst/>
              <a:gdLst/>
              <a:ahLst/>
              <a:cxnLst/>
              <a:rect l="l" t="t" r="r" b="b"/>
              <a:pathLst>
                <a:path h="93979">
                  <a:moveTo>
                    <a:pt x="0" y="93379"/>
                  </a:moveTo>
                  <a:lnTo>
                    <a:pt x="0" y="0"/>
                  </a:lnTo>
                </a:path>
              </a:pathLst>
            </a:custGeom>
            <a:ln w="31412">
              <a:solidFill>
                <a:srgbClr val="6400FF"/>
              </a:solidFill>
            </a:ln>
          </p:spPr>
          <p:txBody>
            <a:bodyPr wrap="square" lIns="0" tIns="0" rIns="0" bIns="0" rtlCol="0"/>
            <a:lstStyle/>
            <a:p>
              <a:endParaRPr sz="372"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137" name="object 60">
              <a:extLst>
                <a:ext uri="{FF2B5EF4-FFF2-40B4-BE49-F238E27FC236}">
                  <a16:creationId xmlns:a16="http://schemas.microsoft.com/office/drawing/2014/main" id="{10A3C0B6-4E79-B5BF-8E54-C490B89B4AB5}"/>
                </a:ext>
              </a:extLst>
            </p:cNvPr>
            <p:cNvSpPr/>
            <p:nvPr/>
          </p:nvSpPr>
          <p:spPr>
            <a:xfrm>
              <a:off x="10987705" y="7524353"/>
              <a:ext cx="0" cy="93980"/>
            </a:xfrm>
            <a:custGeom>
              <a:avLst/>
              <a:gdLst/>
              <a:ahLst/>
              <a:cxnLst/>
              <a:rect l="l" t="t" r="r" b="b"/>
              <a:pathLst>
                <a:path h="93979">
                  <a:moveTo>
                    <a:pt x="0" y="93379"/>
                  </a:moveTo>
                  <a:lnTo>
                    <a:pt x="0" y="0"/>
                  </a:lnTo>
                </a:path>
              </a:pathLst>
            </a:custGeom>
            <a:ln w="31412">
              <a:solidFill>
                <a:srgbClr val="6400FF"/>
              </a:solidFill>
            </a:ln>
          </p:spPr>
          <p:txBody>
            <a:bodyPr wrap="square" lIns="0" tIns="0" rIns="0" bIns="0" rtlCol="0"/>
            <a:lstStyle/>
            <a:p>
              <a:endParaRPr sz="372"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138" name="object 61">
              <a:extLst>
                <a:ext uri="{FF2B5EF4-FFF2-40B4-BE49-F238E27FC236}">
                  <a16:creationId xmlns:a16="http://schemas.microsoft.com/office/drawing/2014/main" id="{413B94CF-D4A3-2A84-B509-1524B1D594F7}"/>
                </a:ext>
              </a:extLst>
            </p:cNvPr>
            <p:cNvSpPr/>
            <p:nvPr/>
          </p:nvSpPr>
          <p:spPr>
            <a:xfrm>
              <a:off x="11158026" y="7524353"/>
              <a:ext cx="0" cy="93980"/>
            </a:xfrm>
            <a:custGeom>
              <a:avLst/>
              <a:gdLst/>
              <a:ahLst/>
              <a:cxnLst/>
              <a:rect l="l" t="t" r="r" b="b"/>
              <a:pathLst>
                <a:path h="93979">
                  <a:moveTo>
                    <a:pt x="0" y="93379"/>
                  </a:moveTo>
                  <a:lnTo>
                    <a:pt x="0" y="0"/>
                  </a:lnTo>
                </a:path>
              </a:pathLst>
            </a:custGeom>
            <a:ln w="31412">
              <a:solidFill>
                <a:srgbClr val="6400FF"/>
              </a:solidFill>
            </a:ln>
          </p:spPr>
          <p:txBody>
            <a:bodyPr wrap="square" lIns="0" tIns="0" rIns="0" bIns="0" rtlCol="0"/>
            <a:lstStyle/>
            <a:p>
              <a:endParaRPr sz="372"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139" name="object 62">
              <a:extLst>
                <a:ext uri="{FF2B5EF4-FFF2-40B4-BE49-F238E27FC236}">
                  <a16:creationId xmlns:a16="http://schemas.microsoft.com/office/drawing/2014/main" id="{0C052949-609C-5169-4D57-5A9B016A630A}"/>
                </a:ext>
              </a:extLst>
            </p:cNvPr>
            <p:cNvSpPr/>
            <p:nvPr/>
          </p:nvSpPr>
          <p:spPr>
            <a:xfrm>
              <a:off x="11328345" y="7353885"/>
              <a:ext cx="93345" cy="0"/>
            </a:xfrm>
            <a:custGeom>
              <a:avLst/>
              <a:gdLst/>
              <a:ahLst/>
              <a:cxnLst/>
              <a:rect l="l" t="t" r="r" b="b"/>
              <a:pathLst>
                <a:path w="93345">
                  <a:moveTo>
                    <a:pt x="93033" y="0"/>
                  </a:moveTo>
                  <a:lnTo>
                    <a:pt x="0" y="0"/>
                  </a:lnTo>
                </a:path>
              </a:pathLst>
            </a:custGeom>
            <a:ln w="31412">
              <a:solidFill>
                <a:srgbClr val="6400FF"/>
              </a:solidFill>
            </a:ln>
          </p:spPr>
          <p:txBody>
            <a:bodyPr wrap="square" lIns="0" tIns="0" rIns="0" bIns="0" rtlCol="0"/>
            <a:lstStyle/>
            <a:p>
              <a:endParaRPr sz="372"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140" name="object 63">
              <a:extLst>
                <a:ext uri="{FF2B5EF4-FFF2-40B4-BE49-F238E27FC236}">
                  <a16:creationId xmlns:a16="http://schemas.microsoft.com/office/drawing/2014/main" id="{1F2B54AD-4F69-17C6-1875-4AB52FD6FD88}"/>
                </a:ext>
              </a:extLst>
            </p:cNvPr>
            <p:cNvSpPr/>
            <p:nvPr/>
          </p:nvSpPr>
          <p:spPr>
            <a:xfrm>
              <a:off x="11328345" y="7183242"/>
              <a:ext cx="93345" cy="0"/>
            </a:xfrm>
            <a:custGeom>
              <a:avLst/>
              <a:gdLst/>
              <a:ahLst/>
              <a:cxnLst/>
              <a:rect l="l" t="t" r="r" b="b"/>
              <a:pathLst>
                <a:path w="93345">
                  <a:moveTo>
                    <a:pt x="93033" y="0"/>
                  </a:moveTo>
                  <a:lnTo>
                    <a:pt x="0" y="0"/>
                  </a:lnTo>
                </a:path>
              </a:pathLst>
            </a:custGeom>
            <a:ln w="31412">
              <a:solidFill>
                <a:srgbClr val="6400FF"/>
              </a:solidFill>
            </a:ln>
          </p:spPr>
          <p:txBody>
            <a:bodyPr wrap="square" lIns="0" tIns="0" rIns="0" bIns="0" rtlCol="0"/>
            <a:lstStyle/>
            <a:p>
              <a:endParaRPr sz="372"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141" name="object 64">
              <a:extLst>
                <a:ext uri="{FF2B5EF4-FFF2-40B4-BE49-F238E27FC236}">
                  <a16:creationId xmlns:a16="http://schemas.microsoft.com/office/drawing/2014/main" id="{9FE50BD7-30A1-ED69-806E-C368343B577F}"/>
                </a:ext>
              </a:extLst>
            </p:cNvPr>
            <p:cNvSpPr/>
            <p:nvPr/>
          </p:nvSpPr>
          <p:spPr>
            <a:xfrm>
              <a:off x="11328345" y="7012774"/>
              <a:ext cx="93345" cy="0"/>
            </a:xfrm>
            <a:custGeom>
              <a:avLst/>
              <a:gdLst/>
              <a:ahLst/>
              <a:cxnLst/>
              <a:rect l="l" t="t" r="r" b="b"/>
              <a:pathLst>
                <a:path w="93345">
                  <a:moveTo>
                    <a:pt x="93033" y="0"/>
                  </a:moveTo>
                  <a:lnTo>
                    <a:pt x="0" y="0"/>
                  </a:lnTo>
                </a:path>
              </a:pathLst>
            </a:custGeom>
            <a:ln w="31412">
              <a:solidFill>
                <a:srgbClr val="6400FF"/>
              </a:solidFill>
            </a:ln>
          </p:spPr>
          <p:txBody>
            <a:bodyPr wrap="square" lIns="0" tIns="0" rIns="0" bIns="0" rtlCol="0"/>
            <a:lstStyle/>
            <a:p>
              <a:endParaRPr sz="372"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142" name="object 65">
              <a:extLst>
                <a:ext uri="{FF2B5EF4-FFF2-40B4-BE49-F238E27FC236}">
                  <a16:creationId xmlns:a16="http://schemas.microsoft.com/office/drawing/2014/main" id="{FD4DD2C7-A18C-E816-FDDF-F965A96E12AA}"/>
                </a:ext>
              </a:extLst>
            </p:cNvPr>
            <p:cNvSpPr/>
            <p:nvPr/>
          </p:nvSpPr>
          <p:spPr>
            <a:xfrm>
              <a:off x="11328345" y="6842130"/>
              <a:ext cx="93345" cy="0"/>
            </a:xfrm>
            <a:custGeom>
              <a:avLst/>
              <a:gdLst/>
              <a:ahLst/>
              <a:cxnLst/>
              <a:rect l="l" t="t" r="r" b="b"/>
              <a:pathLst>
                <a:path w="93345">
                  <a:moveTo>
                    <a:pt x="93033" y="0"/>
                  </a:moveTo>
                  <a:lnTo>
                    <a:pt x="0" y="0"/>
                  </a:lnTo>
                </a:path>
              </a:pathLst>
            </a:custGeom>
            <a:ln w="31412">
              <a:solidFill>
                <a:srgbClr val="6400FF"/>
              </a:solidFill>
            </a:ln>
          </p:spPr>
          <p:txBody>
            <a:bodyPr wrap="square" lIns="0" tIns="0" rIns="0" bIns="0" rtlCol="0"/>
            <a:lstStyle/>
            <a:p>
              <a:endParaRPr sz="372"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143" name="object 66">
              <a:extLst>
                <a:ext uri="{FF2B5EF4-FFF2-40B4-BE49-F238E27FC236}">
                  <a16:creationId xmlns:a16="http://schemas.microsoft.com/office/drawing/2014/main" id="{E74F48EE-AF29-9F94-CF46-C773621E9573}"/>
                </a:ext>
              </a:extLst>
            </p:cNvPr>
            <p:cNvSpPr/>
            <p:nvPr/>
          </p:nvSpPr>
          <p:spPr>
            <a:xfrm>
              <a:off x="10383881" y="6842130"/>
              <a:ext cx="93345" cy="0"/>
            </a:xfrm>
            <a:custGeom>
              <a:avLst/>
              <a:gdLst/>
              <a:ahLst/>
              <a:cxnLst/>
              <a:rect l="l" t="t" r="r" b="b"/>
              <a:pathLst>
                <a:path w="93345">
                  <a:moveTo>
                    <a:pt x="0" y="0"/>
                  </a:moveTo>
                  <a:lnTo>
                    <a:pt x="93201" y="0"/>
                  </a:lnTo>
                </a:path>
              </a:pathLst>
            </a:custGeom>
            <a:ln w="31412">
              <a:solidFill>
                <a:srgbClr val="6400FF"/>
              </a:solidFill>
            </a:ln>
          </p:spPr>
          <p:txBody>
            <a:bodyPr wrap="square" lIns="0" tIns="0" rIns="0" bIns="0" rtlCol="0"/>
            <a:lstStyle/>
            <a:p>
              <a:endParaRPr sz="372"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144" name="object 67">
              <a:extLst>
                <a:ext uri="{FF2B5EF4-FFF2-40B4-BE49-F238E27FC236}">
                  <a16:creationId xmlns:a16="http://schemas.microsoft.com/office/drawing/2014/main" id="{721D57EC-8B73-B0F9-919D-714A157B8FAA}"/>
                </a:ext>
              </a:extLst>
            </p:cNvPr>
            <p:cNvSpPr/>
            <p:nvPr/>
          </p:nvSpPr>
          <p:spPr>
            <a:xfrm>
              <a:off x="10383881" y="7012774"/>
              <a:ext cx="93345" cy="0"/>
            </a:xfrm>
            <a:custGeom>
              <a:avLst/>
              <a:gdLst/>
              <a:ahLst/>
              <a:cxnLst/>
              <a:rect l="l" t="t" r="r" b="b"/>
              <a:pathLst>
                <a:path w="93345">
                  <a:moveTo>
                    <a:pt x="0" y="0"/>
                  </a:moveTo>
                  <a:lnTo>
                    <a:pt x="93201" y="0"/>
                  </a:lnTo>
                </a:path>
              </a:pathLst>
            </a:custGeom>
            <a:ln w="31412">
              <a:solidFill>
                <a:srgbClr val="6400FF"/>
              </a:solidFill>
            </a:ln>
          </p:spPr>
          <p:txBody>
            <a:bodyPr wrap="square" lIns="0" tIns="0" rIns="0" bIns="0" rtlCol="0"/>
            <a:lstStyle/>
            <a:p>
              <a:endParaRPr sz="372"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145" name="object 68">
              <a:extLst>
                <a:ext uri="{FF2B5EF4-FFF2-40B4-BE49-F238E27FC236}">
                  <a16:creationId xmlns:a16="http://schemas.microsoft.com/office/drawing/2014/main" id="{05F76440-2633-00B0-81DE-644453027558}"/>
                </a:ext>
              </a:extLst>
            </p:cNvPr>
            <p:cNvSpPr/>
            <p:nvPr/>
          </p:nvSpPr>
          <p:spPr>
            <a:xfrm>
              <a:off x="10383881" y="7183242"/>
              <a:ext cx="93345" cy="0"/>
            </a:xfrm>
            <a:custGeom>
              <a:avLst/>
              <a:gdLst/>
              <a:ahLst/>
              <a:cxnLst/>
              <a:rect l="l" t="t" r="r" b="b"/>
              <a:pathLst>
                <a:path w="93345">
                  <a:moveTo>
                    <a:pt x="0" y="0"/>
                  </a:moveTo>
                  <a:lnTo>
                    <a:pt x="93201" y="0"/>
                  </a:lnTo>
                </a:path>
              </a:pathLst>
            </a:custGeom>
            <a:ln w="31412">
              <a:solidFill>
                <a:srgbClr val="6400FF"/>
              </a:solidFill>
            </a:ln>
          </p:spPr>
          <p:txBody>
            <a:bodyPr wrap="square" lIns="0" tIns="0" rIns="0" bIns="0" rtlCol="0"/>
            <a:lstStyle/>
            <a:p>
              <a:endParaRPr sz="372"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146" name="object 69">
              <a:extLst>
                <a:ext uri="{FF2B5EF4-FFF2-40B4-BE49-F238E27FC236}">
                  <a16:creationId xmlns:a16="http://schemas.microsoft.com/office/drawing/2014/main" id="{082FAEA7-A210-A9CA-5BFB-37866D0EA721}"/>
                </a:ext>
              </a:extLst>
            </p:cNvPr>
            <p:cNvSpPr/>
            <p:nvPr/>
          </p:nvSpPr>
          <p:spPr>
            <a:xfrm>
              <a:off x="10383881" y="7353885"/>
              <a:ext cx="93345" cy="0"/>
            </a:xfrm>
            <a:custGeom>
              <a:avLst/>
              <a:gdLst/>
              <a:ahLst/>
              <a:cxnLst/>
              <a:rect l="l" t="t" r="r" b="b"/>
              <a:pathLst>
                <a:path w="93345">
                  <a:moveTo>
                    <a:pt x="0" y="0"/>
                  </a:moveTo>
                  <a:lnTo>
                    <a:pt x="93201" y="0"/>
                  </a:lnTo>
                </a:path>
              </a:pathLst>
            </a:custGeom>
            <a:ln w="31412">
              <a:solidFill>
                <a:srgbClr val="6400FF"/>
              </a:solidFill>
            </a:ln>
          </p:spPr>
          <p:txBody>
            <a:bodyPr wrap="square" lIns="0" tIns="0" rIns="0" bIns="0" rtlCol="0"/>
            <a:lstStyle/>
            <a:p>
              <a:endParaRPr sz="372"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147" name="object 70">
              <a:extLst>
                <a:ext uri="{FF2B5EF4-FFF2-40B4-BE49-F238E27FC236}">
                  <a16:creationId xmlns:a16="http://schemas.microsoft.com/office/drawing/2014/main" id="{6B2F90EB-754F-644C-EF9E-A17CB4B4CC28}"/>
                </a:ext>
              </a:extLst>
            </p:cNvPr>
            <p:cNvSpPr/>
            <p:nvPr/>
          </p:nvSpPr>
          <p:spPr>
            <a:xfrm>
              <a:off x="10762224" y="7093504"/>
              <a:ext cx="281305" cy="210185"/>
            </a:xfrm>
            <a:custGeom>
              <a:avLst/>
              <a:gdLst/>
              <a:ahLst/>
              <a:cxnLst/>
              <a:rect l="l" t="t" r="r" b="b"/>
              <a:pathLst>
                <a:path w="281304" h="210184">
                  <a:moveTo>
                    <a:pt x="243636" y="0"/>
                  </a:moveTo>
                  <a:lnTo>
                    <a:pt x="258108" y="2927"/>
                  </a:lnTo>
                  <a:lnTo>
                    <a:pt x="269927" y="10910"/>
                  </a:lnTo>
                  <a:lnTo>
                    <a:pt x="277896" y="22749"/>
                  </a:lnTo>
                  <a:lnTo>
                    <a:pt x="280818" y="37244"/>
                  </a:lnTo>
                  <a:lnTo>
                    <a:pt x="280818" y="172727"/>
                  </a:lnTo>
                  <a:lnTo>
                    <a:pt x="277896" y="187221"/>
                  </a:lnTo>
                  <a:lnTo>
                    <a:pt x="269927" y="199056"/>
                  </a:lnTo>
                  <a:lnTo>
                    <a:pt x="258108" y="207036"/>
                  </a:lnTo>
                  <a:lnTo>
                    <a:pt x="243636" y="209962"/>
                  </a:lnTo>
                  <a:lnTo>
                    <a:pt x="37171" y="209962"/>
                  </a:lnTo>
                  <a:lnTo>
                    <a:pt x="22705" y="207036"/>
                  </a:lnTo>
                  <a:lnTo>
                    <a:pt x="10889" y="199056"/>
                  </a:lnTo>
                  <a:lnTo>
                    <a:pt x="2922" y="187221"/>
                  </a:lnTo>
                  <a:lnTo>
                    <a:pt x="0" y="172727"/>
                  </a:lnTo>
                  <a:lnTo>
                    <a:pt x="0" y="37244"/>
                  </a:lnTo>
                  <a:lnTo>
                    <a:pt x="2922" y="22749"/>
                  </a:lnTo>
                  <a:lnTo>
                    <a:pt x="10889" y="10910"/>
                  </a:lnTo>
                  <a:lnTo>
                    <a:pt x="22705" y="2927"/>
                  </a:lnTo>
                  <a:lnTo>
                    <a:pt x="37171" y="0"/>
                  </a:lnTo>
                  <a:lnTo>
                    <a:pt x="243636" y="0"/>
                  </a:lnTo>
                  <a:close/>
                </a:path>
              </a:pathLst>
            </a:custGeom>
            <a:ln w="31412">
              <a:solidFill>
                <a:srgbClr val="6400FF"/>
              </a:solidFill>
            </a:ln>
          </p:spPr>
          <p:txBody>
            <a:bodyPr wrap="square" lIns="0" tIns="0" rIns="0" bIns="0" rtlCol="0"/>
            <a:lstStyle/>
            <a:p>
              <a:endParaRPr sz="372"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pic>
          <p:nvPicPr>
            <p:cNvPr id="148" name="object 71">
              <a:extLst>
                <a:ext uri="{FF2B5EF4-FFF2-40B4-BE49-F238E27FC236}">
                  <a16:creationId xmlns:a16="http://schemas.microsoft.com/office/drawing/2014/main" id="{71A47B7E-8EDE-1C6C-9684-9F9B50EA3312}"/>
                </a:ext>
              </a:extLst>
            </p:cNvPr>
            <p:cNvPicPr/>
            <p:nvPr/>
          </p:nvPicPr>
          <p:blipFill>
            <a:blip r:embed="rId1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788878" y="6875280"/>
              <a:ext cx="227500" cy="233930"/>
            </a:xfrm>
            <a:prstGeom prst="rect">
              <a:avLst/>
            </a:prstGeom>
          </p:spPr>
        </p:pic>
        <p:sp>
          <p:nvSpPr>
            <p:cNvPr id="149" name="object 72">
              <a:extLst>
                <a:ext uri="{FF2B5EF4-FFF2-40B4-BE49-F238E27FC236}">
                  <a16:creationId xmlns:a16="http://schemas.microsoft.com/office/drawing/2014/main" id="{B2976318-306B-BF33-FCCF-5F19F2AEC97D}"/>
                </a:ext>
              </a:extLst>
            </p:cNvPr>
            <p:cNvSpPr/>
            <p:nvPr/>
          </p:nvSpPr>
          <p:spPr>
            <a:xfrm>
              <a:off x="10902630" y="7160200"/>
              <a:ext cx="0" cy="69850"/>
            </a:xfrm>
            <a:custGeom>
              <a:avLst/>
              <a:gdLst/>
              <a:ahLst/>
              <a:cxnLst/>
              <a:rect l="l" t="t" r="r" b="b"/>
              <a:pathLst>
                <a:path h="69850">
                  <a:moveTo>
                    <a:pt x="0" y="0"/>
                  </a:moveTo>
                  <a:lnTo>
                    <a:pt x="0" y="69474"/>
                  </a:lnTo>
                </a:path>
              </a:pathLst>
            </a:custGeom>
            <a:ln w="31412">
              <a:solidFill>
                <a:srgbClr val="6400FF"/>
              </a:solidFill>
            </a:ln>
          </p:spPr>
          <p:txBody>
            <a:bodyPr wrap="square" lIns="0" tIns="0" rIns="0" bIns="0" rtlCol="0"/>
            <a:lstStyle/>
            <a:p>
              <a:endParaRPr sz="372"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150" name="object 73">
              <a:extLst>
                <a:ext uri="{FF2B5EF4-FFF2-40B4-BE49-F238E27FC236}">
                  <a16:creationId xmlns:a16="http://schemas.microsoft.com/office/drawing/2014/main" id="{FF72B721-69D4-8F57-34A6-F3775C8F56CF}"/>
                </a:ext>
              </a:extLst>
            </p:cNvPr>
            <p:cNvSpPr/>
            <p:nvPr/>
          </p:nvSpPr>
          <p:spPr>
            <a:xfrm>
              <a:off x="10878248" y="7160200"/>
              <a:ext cx="48895" cy="0"/>
            </a:xfrm>
            <a:custGeom>
              <a:avLst/>
              <a:gdLst/>
              <a:ahLst/>
              <a:cxnLst/>
              <a:rect l="l" t="t" r="r" b="b"/>
              <a:pathLst>
                <a:path w="48895">
                  <a:moveTo>
                    <a:pt x="0" y="0"/>
                  </a:moveTo>
                  <a:lnTo>
                    <a:pt x="48762" y="0"/>
                  </a:lnTo>
                </a:path>
              </a:pathLst>
            </a:custGeom>
            <a:ln w="31412">
              <a:solidFill>
                <a:srgbClr val="6400FF"/>
              </a:solidFill>
            </a:ln>
          </p:spPr>
          <p:txBody>
            <a:bodyPr wrap="square" lIns="0" tIns="0" rIns="0" bIns="0" rtlCol="0"/>
            <a:lstStyle/>
            <a:p>
              <a:endParaRPr sz="372"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</p:grp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45BA9B-ACB9-42EB-823A-1701F075C870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8819A6C3-B887-2245-3E5E-481B5AF7B4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6249" y="2933644"/>
            <a:ext cx="776155" cy="776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50211E2-465E-0968-D019-1E26E217333C}"/>
              </a:ext>
            </a:extLst>
          </p:cNvPr>
          <p:cNvSpPr txBox="1"/>
          <p:nvPr/>
        </p:nvSpPr>
        <p:spPr>
          <a:xfrm>
            <a:off x="8272597" y="3769487"/>
            <a:ext cx="6703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OM" sz="1400" b="1" dirty="0">
                <a:solidFill>
                  <a:schemeClr val="bg1"/>
                </a:solidFill>
              </a:rPr>
              <a:t>أقرأ أكثر</a:t>
            </a:r>
            <a:endParaRPr lang="en-US" sz="1400" b="1" dirty="0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02AE082-FA52-90FF-4625-9B4EA90F5D8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272597" y="4070911"/>
            <a:ext cx="789805" cy="624240"/>
          </a:xfrm>
          <a:prstGeom prst="rect">
            <a:avLst/>
          </a:prstGeom>
          <a:ln>
            <a:solidFill>
              <a:schemeClr val="bg2"/>
            </a:solidFill>
          </a:ln>
        </p:spPr>
      </p:pic>
    </p:spTree>
    <p:extLst>
      <p:ext uri="{BB962C8B-B14F-4D97-AF65-F5344CB8AC3E}">
        <p14:creationId xmlns:p14="http://schemas.microsoft.com/office/powerpoint/2010/main" val="51916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E08FA6A-CFDF-DB1C-C02E-87A755AD137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295043" y="2669073"/>
            <a:ext cx="6553913" cy="191433"/>
          </a:xfrm>
        </p:spPr>
        <p:txBody>
          <a:bodyPr/>
          <a:lstStyle/>
          <a:p>
            <a:pPr algn="ctr"/>
            <a:r>
              <a:rPr lang="ar-OM" sz="4800" dirty="0"/>
              <a:t>من الذي يبني المستقبل؟</a:t>
            </a:r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13927749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B225F702-13C9-4380-8AFA-9D034236DA71}"/>
              </a:ext>
            </a:extLst>
          </p:cNvPr>
          <p:cNvGrpSpPr/>
          <p:nvPr/>
        </p:nvGrpSpPr>
        <p:grpSpPr>
          <a:xfrm flipH="1">
            <a:off x="1059056" y="1625213"/>
            <a:ext cx="7085376" cy="1862207"/>
            <a:chOff x="839424" y="1625213"/>
            <a:chExt cx="7085376" cy="186220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0B69CC9-8591-8827-7368-0A2AF1D4C163}"/>
                </a:ext>
              </a:extLst>
            </p:cNvPr>
            <p:cNvSpPr txBox="1"/>
            <p:nvPr/>
          </p:nvSpPr>
          <p:spPr>
            <a:xfrm>
              <a:off x="839424" y="2275453"/>
              <a:ext cx="185499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ar-sa" sz="2800" b="1" dirty="0">
                  <a:solidFill>
                    <a:schemeClr val="bg1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الابتكار الناجح =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95F748A-208F-E4A6-319E-25DDB0E27612}"/>
                </a:ext>
              </a:extLst>
            </p:cNvPr>
            <p:cNvSpPr/>
            <p:nvPr/>
          </p:nvSpPr>
          <p:spPr>
            <a:xfrm>
              <a:off x="2914051" y="1625213"/>
              <a:ext cx="4142740" cy="650240"/>
            </a:xfrm>
            <a:prstGeom prst="rect">
              <a:avLst/>
            </a:prstGeom>
            <a:gradFill>
              <a:gsLst>
                <a:gs pos="0">
                  <a:schemeClr val="accent1">
                    <a:lumMod val="89000"/>
                  </a:schemeClr>
                </a:gs>
                <a:gs pos="23000">
                  <a:schemeClr val="accent1">
                    <a:lumMod val="89000"/>
                  </a:schemeClr>
                </a:gs>
                <a:gs pos="69000">
                  <a:schemeClr val="accent1">
                    <a:lumMod val="75000"/>
                  </a:schemeClr>
                </a:gs>
                <a:gs pos="97000">
                  <a:schemeClr val="accent1">
                    <a:lumMod val="70000"/>
                  </a:schemeClr>
                </a:gs>
              </a:gsLst>
              <a:path path="circle">
                <a:fillToRect l="50000" t="50000" r="50000" b="50000"/>
              </a:path>
            </a:gra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sa" sz="2800" b="1">
                  <a:latin typeface="Sakkal Majalla" panose="02000000000000000000" pitchFamily="2" charset="-78"/>
                  <a:cs typeface="Sakkal Majalla" panose="02000000000000000000" pitchFamily="2" charset="-78"/>
                </a:rPr>
                <a:t> التكنولوجيا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70CC404-67C6-F6A8-0171-C8D9AC9A2C05}"/>
                </a:ext>
              </a:extLst>
            </p:cNvPr>
            <p:cNvSpPr/>
            <p:nvPr/>
          </p:nvSpPr>
          <p:spPr>
            <a:xfrm>
              <a:off x="3596640" y="2837180"/>
              <a:ext cx="4328160" cy="650240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lumMod val="89000"/>
                  </a:schemeClr>
                </a:gs>
                <a:gs pos="23000">
                  <a:schemeClr val="accent6">
                    <a:lumMod val="89000"/>
                  </a:schemeClr>
                </a:gs>
                <a:gs pos="69000">
                  <a:schemeClr val="accent6">
                    <a:lumMod val="75000"/>
                  </a:schemeClr>
                </a:gs>
                <a:gs pos="97000">
                  <a:schemeClr val="accent6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OM" sz="2800" b="1" dirty="0">
                  <a:latin typeface="Sakkal Majalla" panose="02000000000000000000" pitchFamily="2" charset="-78"/>
                  <a:cs typeface="Sakkal Majalla" panose="02000000000000000000" pitchFamily="2" charset="-78"/>
                </a:rPr>
                <a:t>التطبيق العملي</a:t>
              </a:r>
              <a:endParaRPr lang="ar-sa" sz="2800" b="1" dirty="0"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C43807E6-48F1-24BB-3E6C-BBEC08D35DE5}"/>
                </a:ext>
              </a:extLst>
            </p:cNvPr>
            <p:cNvSpPr txBox="1"/>
            <p:nvPr/>
          </p:nvSpPr>
          <p:spPr>
            <a:xfrm>
              <a:off x="3269578" y="2217807"/>
              <a:ext cx="389850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ar-sa" sz="4000" b="1" dirty="0">
                  <a:solidFill>
                    <a:schemeClr val="bg1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+</a:t>
              </a:r>
            </a:p>
          </p:txBody>
        </p:sp>
      </p:grp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6D7AB27-C3DD-4FCF-BFBE-87A0A9757290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F9056DC-05CE-8225-2B84-A0E7A8819992}"/>
              </a:ext>
            </a:extLst>
          </p:cNvPr>
          <p:cNvGrpSpPr/>
          <p:nvPr/>
        </p:nvGrpSpPr>
        <p:grpSpPr>
          <a:xfrm>
            <a:off x="72070" y="984085"/>
            <a:ext cx="2178215" cy="2178215"/>
            <a:chOff x="6389323" y="1135545"/>
            <a:chExt cx="2178215" cy="2178215"/>
          </a:xfrm>
        </p:grpSpPr>
        <p:pic>
          <p:nvPicPr>
            <p:cNvPr id="4" name="Graphic 3" descr="Group brainstorm outline">
              <a:extLst>
                <a:ext uri="{FF2B5EF4-FFF2-40B4-BE49-F238E27FC236}">
                  <a16:creationId xmlns:a16="http://schemas.microsoft.com/office/drawing/2014/main" id="{457192E3-3533-5A4E-3CC5-BCEB2820E5F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134700" y="1659982"/>
              <a:ext cx="733051" cy="733051"/>
            </a:xfrm>
            <a:prstGeom prst="rect">
              <a:avLst/>
            </a:prstGeom>
          </p:spPr>
        </p:pic>
        <p:pic>
          <p:nvPicPr>
            <p:cNvPr id="5" name="Graphic 4" descr="Arrow circle outline">
              <a:extLst>
                <a:ext uri="{FF2B5EF4-FFF2-40B4-BE49-F238E27FC236}">
                  <a16:creationId xmlns:a16="http://schemas.microsoft.com/office/drawing/2014/main" id="{79C2B367-5F3D-F371-768D-C0E8599D5AD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389323" y="1135545"/>
              <a:ext cx="2178215" cy="2178215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991BB91-4D8A-99D6-A931-402389779B90}"/>
                </a:ext>
              </a:extLst>
            </p:cNvPr>
            <p:cNvSpPr txBox="1"/>
            <p:nvPr/>
          </p:nvSpPr>
          <p:spPr>
            <a:xfrm>
              <a:off x="7173086" y="2356389"/>
              <a:ext cx="85151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ar-OM" sz="1100" b="1" dirty="0">
                  <a:solidFill>
                    <a:schemeClr val="bg1"/>
                  </a:solidFill>
                </a:rPr>
                <a:t>العمل الجماعي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34262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8709E47-AD48-2400-C53B-5E3996EE19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ar-OM" sz="3200" dirty="0"/>
              <a:t>أي المسارات المهنية أنسب لك؟</a:t>
            </a:r>
            <a:endParaRPr lang="en-US" sz="32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9AE428-BAE2-C1CB-E00A-04E00EF8A44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170255" y="914559"/>
            <a:ext cx="2803486" cy="143877"/>
          </a:xfrm>
        </p:spPr>
        <p:txBody>
          <a:bodyPr/>
          <a:lstStyle/>
          <a:p>
            <a:pPr algn="ctr"/>
            <a:r>
              <a:rPr lang="ar-OM" sz="1400" dirty="0"/>
              <a:t>أمسح</a:t>
            </a:r>
            <a:r>
              <a:rPr lang="en-US" sz="1400" dirty="0"/>
              <a:t> </a:t>
            </a:r>
            <a:r>
              <a:rPr lang="ar-OM" sz="1400" dirty="0"/>
              <a:t> رمز الاستجابة السريعة و قم بعمل الأختبار</a:t>
            </a:r>
            <a:endParaRPr lang="en-US" sz="14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9F367A4-65E9-65ED-8646-72A7CA0CF5DB}"/>
              </a:ext>
            </a:extLst>
          </p:cNvPr>
          <p:cNvSpPr txBox="1"/>
          <p:nvPr/>
        </p:nvSpPr>
        <p:spPr>
          <a:xfrm>
            <a:off x="3596054" y="3666197"/>
            <a:ext cx="14446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ATRC.GOV.AE/FFCP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9E0235D-EA73-7D5E-8EBD-527FABB60693}"/>
              </a:ext>
            </a:extLst>
          </p:cNvPr>
          <p:cNvGrpSpPr/>
          <p:nvPr/>
        </p:nvGrpSpPr>
        <p:grpSpPr>
          <a:xfrm>
            <a:off x="3596054" y="1816556"/>
            <a:ext cx="1554480" cy="1554480"/>
            <a:chOff x="1936197" y="3907757"/>
            <a:chExt cx="933398" cy="880213"/>
          </a:xfrm>
        </p:grpSpPr>
        <p:sp>
          <p:nvSpPr>
            <p:cNvPr id="3" name="Flowchart: Alternate Process 2">
              <a:extLst>
                <a:ext uri="{FF2B5EF4-FFF2-40B4-BE49-F238E27FC236}">
                  <a16:creationId xmlns:a16="http://schemas.microsoft.com/office/drawing/2014/main" id="{F8708FBF-9580-1519-5AF9-7A622178F9D2}"/>
                </a:ext>
              </a:extLst>
            </p:cNvPr>
            <p:cNvSpPr/>
            <p:nvPr/>
          </p:nvSpPr>
          <p:spPr>
            <a:xfrm>
              <a:off x="1936197" y="3907757"/>
              <a:ext cx="933398" cy="880213"/>
            </a:xfrm>
            <a:prstGeom prst="flowChartAlternateProcess">
              <a:avLst/>
            </a:prstGeom>
            <a:solidFill>
              <a:schemeClr val="bg2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B6008E5E-10E0-C677-1761-919F8CE6F0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093278" y="4067740"/>
              <a:ext cx="626039" cy="59039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8423479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0B01F9F-6F9A-53FD-3A26-D525768C36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85" y="230387"/>
            <a:ext cx="7825174" cy="274637"/>
          </a:xfrm>
        </p:spPr>
        <p:txBody>
          <a:bodyPr/>
          <a:lstStyle/>
          <a:p>
            <a:r>
              <a:rPr lang="ar-OM" dirty="0"/>
              <a:t>قم باختبار المسارات المهنية القصير للتعرف على مسارك</a:t>
            </a:r>
            <a:r>
              <a:rPr lang="en-US" dirty="0"/>
              <a:t>!</a:t>
            </a:r>
            <a:r>
              <a:rPr lang="ar-OM" dirty="0"/>
              <a:t> (الجزء الأول)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E9F3E57-329C-0494-D061-A1231FE6BAA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7230" y="643986"/>
            <a:ext cx="8429323" cy="175113"/>
          </a:xfrm>
        </p:spPr>
        <p:txBody>
          <a:bodyPr/>
          <a:lstStyle/>
          <a:p>
            <a:r>
              <a:rPr lang="ar-OM" dirty="0"/>
              <a:t>ضع دائرة على جميع الخيارات التي لها علاقة بك و تثير اهتمامك</a:t>
            </a: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60D0BBF-1DBB-2A8E-6A8A-B7807E3DA1B4}"/>
              </a:ext>
            </a:extLst>
          </p:cNvPr>
          <p:cNvGrpSpPr/>
          <p:nvPr/>
        </p:nvGrpSpPr>
        <p:grpSpPr>
          <a:xfrm>
            <a:off x="1004454" y="950551"/>
            <a:ext cx="7510896" cy="299276"/>
            <a:chOff x="271975" y="1922127"/>
            <a:chExt cx="6323458" cy="299276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A84B9BA3-4273-209A-B83A-1B1562E42652}"/>
                </a:ext>
              </a:extLst>
            </p:cNvPr>
            <p:cNvSpPr txBox="1"/>
            <p:nvPr/>
          </p:nvSpPr>
          <p:spPr>
            <a:xfrm>
              <a:off x="271975" y="1922127"/>
              <a:ext cx="6323458" cy="281526"/>
            </a:xfrm>
            <a:prstGeom prst="roundRect">
              <a:avLst/>
            </a:prstGeom>
            <a:solidFill>
              <a:srgbClr val="6500FF"/>
            </a:solidFill>
          </p:spPr>
          <p:txBody>
            <a:bodyPr wrap="square">
              <a:spAutoFit/>
            </a:bodyPr>
            <a:lstStyle/>
            <a:p>
              <a:endParaRPr lang="en-US" sz="1000" b="1" dirty="0">
                <a:solidFill>
                  <a:schemeClr val="bg1"/>
                </a:solidFill>
                <a:latin typeface="Poppin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91A7C980-54D5-576B-6F3D-4A08A3D7F56A}"/>
                </a:ext>
              </a:extLst>
            </p:cNvPr>
            <p:cNvSpPr txBox="1"/>
            <p:nvPr/>
          </p:nvSpPr>
          <p:spPr>
            <a:xfrm>
              <a:off x="5871791" y="1939779"/>
              <a:ext cx="54106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ar-OM" sz="1200" b="1" dirty="0">
                  <a:solidFill>
                    <a:schemeClr val="bg2"/>
                  </a:solidFill>
                </a:rPr>
                <a:t>الأسئلة</a:t>
              </a:r>
              <a:endParaRPr lang="en-US" sz="1200" b="1" dirty="0">
                <a:solidFill>
                  <a:schemeClr val="bg2"/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FE9A2A1-08F2-1E2F-AA3E-DB6C6ACB5BE1}"/>
                </a:ext>
              </a:extLst>
            </p:cNvPr>
            <p:cNvSpPr txBox="1"/>
            <p:nvPr/>
          </p:nvSpPr>
          <p:spPr>
            <a:xfrm>
              <a:off x="4897498" y="1939779"/>
              <a:ext cx="18937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ar-OM" sz="1200" b="1" dirty="0">
                  <a:solidFill>
                    <a:schemeClr val="bg2"/>
                  </a:solidFill>
                </a:rPr>
                <a:t>1</a:t>
              </a:r>
              <a:endParaRPr lang="en-US" sz="1200" b="1" dirty="0">
                <a:solidFill>
                  <a:schemeClr val="bg2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29039EF-3C6C-7AD6-7DC7-A2044BBC09FA}"/>
                </a:ext>
              </a:extLst>
            </p:cNvPr>
            <p:cNvSpPr txBox="1"/>
            <p:nvPr/>
          </p:nvSpPr>
          <p:spPr>
            <a:xfrm>
              <a:off x="3879921" y="1944404"/>
              <a:ext cx="18937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ar-OM" sz="1200" b="1" dirty="0">
                  <a:solidFill>
                    <a:schemeClr val="bg2"/>
                  </a:solidFill>
                </a:rPr>
                <a:t>2</a:t>
              </a:r>
              <a:endParaRPr lang="en-US" sz="1200" b="1" dirty="0">
                <a:solidFill>
                  <a:schemeClr val="bg2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7B01180-9AD7-BBE7-824F-0657E36D4E9E}"/>
                </a:ext>
              </a:extLst>
            </p:cNvPr>
            <p:cNvSpPr txBox="1"/>
            <p:nvPr/>
          </p:nvSpPr>
          <p:spPr>
            <a:xfrm>
              <a:off x="2823485" y="1944403"/>
              <a:ext cx="18937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ar-OM" sz="1200" b="1" dirty="0">
                  <a:solidFill>
                    <a:schemeClr val="bg2"/>
                  </a:solidFill>
                </a:rPr>
                <a:t>3</a:t>
              </a:r>
              <a:endParaRPr lang="en-US" b="1" dirty="0">
                <a:solidFill>
                  <a:schemeClr val="bg2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989CB21-86A7-5688-A873-52C2B9AC3445}"/>
                </a:ext>
              </a:extLst>
            </p:cNvPr>
            <p:cNvSpPr txBox="1"/>
            <p:nvPr/>
          </p:nvSpPr>
          <p:spPr>
            <a:xfrm>
              <a:off x="1767049" y="1939779"/>
              <a:ext cx="18937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ar-OM" sz="1200" b="1" dirty="0">
                  <a:solidFill>
                    <a:schemeClr val="bg2"/>
                  </a:solidFill>
                </a:rPr>
                <a:t>4</a:t>
              </a:r>
              <a:endParaRPr lang="en-US" b="1" dirty="0">
                <a:solidFill>
                  <a:schemeClr val="bg2"/>
                </a:solidFill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7E84E9B9-9FBE-84A6-5C63-217FF5DBCBF6}"/>
                </a:ext>
              </a:extLst>
            </p:cNvPr>
            <p:cNvSpPr txBox="1"/>
            <p:nvPr/>
          </p:nvSpPr>
          <p:spPr>
            <a:xfrm>
              <a:off x="710612" y="1925414"/>
              <a:ext cx="18937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ar-OM" sz="1200" b="1" dirty="0">
                  <a:solidFill>
                    <a:schemeClr val="bg2"/>
                  </a:solidFill>
                </a:rPr>
                <a:t>5</a:t>
              </a:r>
              <a:endParaRPr lang="en-US" b="1" dirty="0">
                <a:solidFill>
                  <a:schemeClr val="bg2"/>
                </a:solidFill>
              </a:endParaRPr>
            </a:p>
          </p:txBody>
        </p:sp>
      </p:grp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D961D2B9-439A-59C0-C4E3-6098C850D7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9754891"/>
              </p:ext>
            </p:extLst>
          </p:nvPr>
        </p:nvGraphicFramePr>
        <p:xfrm>
          <a:off x="1004454" y="1295400"/>
          <a:ext cx="7510896" cy="3486678"/>
        </p:xfrm>
        <a:graphic>
          <a:graphicData uri="http://schemas.openxmlformats.org/drawingml/2006/table">
            <a:tbl>
              <a:tblPr rtl="1">
                <a:tableStyleId>{616DA210-FB5B-4158-B5E0-FEB733F419BA}</a:tableStyleId>
              </a:tblPr>
              <a:tblGrid>
                <a:gridCol w="1251816">
                  <a:extLst>
                    <a:ext uri="{9D8B030D-6E8A-4147-A177-3AD203B41FA5}">
                      <a16:colId xmlns:a16="http://schemas.microsoft.com/office/drawing/2014/main" val="3760671358"/>
                    </a:ext>
                  </a:extLst>
                </a:gridCol>
                <a:gridCol w="1251816">
                  <a:extLst>
                    <a:ext uri="{9D8B030D-6E8A-4147-A177-3AD203B41FA5}">
                      <a16:colId xmlns:a16="http://schemas.microsoft.com/office/drawing/2014/main" val="601328382"/>
                    </a:ext>
                  </a:extLst>
                </a:gridCol>
                <a:gridCol w="1251816">
                  <a:extLst>
                    <a:ext uri="{9D8B030D-6E8A-4147-A177-3AD203B41FA5}">
                      <a16:colId xmlns:a16="http://schemas.microsoft.com/office/drawing/2014/main" val="3421750460"/>
                    </a:ext>
                  </a:extLst>
                </a:gridCol>
                <a:gridCol w="1251816">
                  <a:extLst>
                    <a:ext uri="{9D8B030D-6E8A-4147-A177-3AD203B41FA5}">
                      <a16:colId xmlns:a16="http://schemas.microsoft.com/office/drawing/2014/main" val="2304332935"/>
                    </a:ext>
                  </a:extLst>
                </a:gridCol>
                <a:gridCol w="1251816">
                  <a:extLst>
                    <a:ext uri="{9D8B030D-6E8A-4147-A177-3AD203B41FA5}">
                      <a16:colId xmlns:a16="http://schemas.microsoft.com/office/drawing/2014/main" val="3645091493"/>
                    </a:ext>
                  </a:extLst>
                </a:gridCol>
                <a:gridCol w="1251816">
                  <a:extLst>
                    <a:ext uri="{9D8B030D-6E8A-4147-A177-3AD203B41FA5}">
                      <a16:colId xmlns:a16="http://schemas.microsoft.com/office/drawing/2014/main" val="820983460"/>
                    </a:ext>
                  </a:extLst>
                </a:gridCol>
              </a:tblGrid>
              <a:tr h="757026">
                <a:tc>
                  <a:txBody>
                    <a:bodyPr/>
                    <a:lstStyle/>
                    <a:p>
                      <a:pPr algn="ctr" fontAlgn="ctr"/>
                      <a:r>
                        <a:rPr lang="ar-sa" sz="1000" b="1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1. ما الذي يثير حماسك أكثر؟</a:t>
                      </a:r>
                      <a:endParaRPr lang="ar-sa" sz="1000" b="1" u="none" strike="noStrike" dirty="0">
                        <a:solidFill>
                          <a:schemeClr val="accent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R="4625" marT="46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اكتشاف أشياء جديدة وإجراء التجارب</a:t>
                      </a:r>
                      <a:endParaRPr lang="ar-sa" sz="80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بناء وتصميم تقنيات جديدة</a:t>
                      </a:r>
                    </a:p>
                    <a:p>
                      <a:pPr algn="ctr" fontAlgn="ctr"/>
                      <a:endParaRPr lang="ar-sa" sz="80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حل مسائل رياضية معقدة</a:t>
                      </a:r>
                      <a:endParaRPr lang="ar-sa" sz="80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>
                          <a:solidFill>
                            <a:schemeClr val="tx1"/>
                          </a:solidFill>
                          <a:effectLst/>
                        </a:rPr>
                        <a:t>ابتكار تصاميم ومنتجات جديدة</a:t>
                      </a:r>
                    </a:p>
                    <a:p>
                      <a:pPr algn="ctr" fontAlgn="ctr"/>
                      <a:endParaRPr lang="ar-sa" sz="800" u="none" strike="noStrike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قيادة وإدارة المشاريع</a:t>
                      </a:r>
                    </a:p>
                    <a:p>
                      <a:pPr algn="ctr" fontAlgn="ctr"/>
                      <a:endParaRPr lang="ar-sa" sz="80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0600967"/>
                  </a:ext>
                </a:extLst>
              </a:tr>
              <a:tr h="682413">
                <a:tc>
                  <a:txBody>
                    <a:bodyPr/>
                    <a:lstStyle/>
                    <a:p>
                      <a:pPr algn="ctr" fontAlgn="ctr"/>
                      <a:r>
                        <a:rPr lang="ar-sa" sz="1000" b="1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 2. أي نشاط تستمتع به أكثر؟</a:t>
                      </a:r>
                      <a:endParaRPr lang="ar-sa" sz="1000" b="1" u="none" strike="noStrike" dirty="0">
                        <a:solidFill>
                          <a:schemeClr val="accent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R="4625" marT="46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قراءة المجلات والمقالات العلمية</a:t>
                      </a:r>
                      <a:endParaRPr lang="ar-sa" sz="80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البرمجة وتطوير البرمجيات</a:t>
                      </a:r>
                    </a:p>
                    <a:p>
                      <a:pPr algn="ctr" fontAlgn="ctr"/>
                      <a:endParaRPr lang="ar-sa" sz="80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تحليل البيانات والإحصاءات</a:t>
                      </a:r>
                    </a:p>
                    <a:p>
                      <a:pPr algn="ctr" fontAlgn="ctr"/>
                      <a:endParaRPr lang="ar-sa" sz="80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الرسم والتصميم</a:t>
                      </a:r>
                      <a:endParaRPr lang="ar-sa" sz="80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تنظيم وتخطيط الفعاليات</a:t>
                      </a:r>
                      <a:endParaRPr lang="ar-sa" sz="80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0598662"/>
                  </a:ext>
                </a:extLst>
              </a:tr>
              <a:tr h="682413">
                <a:tc>
                  <a:txBody>
                    <a:bodyPr/>
                    <a:lstStyle/>
                    <a:p>
                      <a:pPr algn="ctr" fontAlgn="ctr"/>
                      <a:r>
                        <a:rPr lang="ar-sa" sz="1000" b="1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3. ما المادة الدراسية المفضلة بالنسبة لك في المدرسة؟</a:t>
                      </a:r>
                      <a:endParaRPr lang="ar-sa" sz="1000" b="1" u="none" strike="noStrike" dirty="0">
                        <a:solidFill>
                          <a:schemeClr val="accent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R="4625" marT="46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الفيزياء أو الأحياء أو الكيمياء</a:t>
                      </a:r>
                      <a:endParaRPr lang="ar-sa" sz="80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علوم الحاسوب أو الهندسة</a:t>
                      </a:r>
                    </a:p>
                    <a:p>
                      <a:pPr algn="ctr" fontAlgn="ctr"/>
                      <a:endParaRPr lang="ar-sa" sz="80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الرياضيات</a:t>
                      </a:r>
                      <a:endParaRPr lang="ar-sa" sz="80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الفنون أو التصميم</a:t>
                      </a:r>
                      <a:endParaRPr lang="ar-sa" sz="80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دراسات الأعمال أو الاقتصاد</a:t>
                      </a:r>
                    </a:p>
                    <a:p>
                      <a:pPr algn="ctr" fontAlgn="ctr"/>
                      <a:endParaRPr lang="ar-sa" sz="80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9935511"/>
                  </a:ext>
                </a:extLst>
              </a:tr>
              <a:tr h="682413">
                <a:tc>
                  <a:txBody>
                    <a:bodyPr/>
                    <a:lstStyle/>
                    <a:p>
                      <a:pPr algn="ctr" fontAlgn="ctr"/>
                      <a:r>
                        <a:rPr lang="ar-sa" sz="1000" b="1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 4. كيف تفضل العمل على المشاريع؟</a:t>
                      </a:r>
                      <a:endParaRPr lang="ar-sa" sz="1000" b="1" u="none" strike="noStrike" dirty="0">
                        <a:solidFill>
                          <a:schemeClr val="accent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R="4625" marT="46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بشكل مستقل أو مع أشخاص يشاركونك نفس التفكير</a:t>
                      </a:r>
                    </a:p>
                    <a:p>
                      <a:pPr algn="ctr" fontAlgn="ctr"/>
                      <a:endParaRPr lang="ar-sa" sz="80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>
                          <a:solidFill>
                            <a:schemeClr val="tx1"/>
                          </a:solidFill>
                          <a:effectLst/>
                        </a:rPr>
                        <a:t> بالتعاون مع فريق من المهندسين</a:t>
                      </a:r>
                      <a:endParaRPr lang="ar-sa" sz="800" u="none" strike="noStrike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من خلال تحليل البيانات لإيجاد الحلول</a:t>
                      </a:r>
                    </a:p>
                    <a:p>
                      <a:pPr algn="ctr" fontAlgn="ctr"/>
                      <a:endParaRPr lang="ar-sa" sz="80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بطريقة إبداعية عبر العصف الذهني لإيجاد أفكار جديدة</a:t>
                      </a:r>
                    </a:p>
                    <a:p>
                      <a:pPr algn="ctr" fontAlgn="ctr"/>
                      <a:endParaRPr lang="ar-sa" sz="80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بقيادة فريق متنوع وإدارة المهام</a:t>
                      </a:r>
                    </a:p>
                    <a:p>
                      <a:pPr algn="ctr" fontAlgn="ctr"/>
                      <a:endParaRPr lang="ar-sa" sz="80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9900061"/>
                  </a:ext>
                </a:extLst>
              </a:tr>
              <a:tr h="682413">
                <a:tc>
                  <a:txBody>
                    <a:bodyPr/>
                    <a:lstStyle/>
                    <a:p>
                      <a:pPr algn="ctr" fontAlgn="ctr"/>
                      <a:r>
                        <a:rPr lang="ar-sa" sz="1000" b="1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 5. ما نوع المشكلات التي تفضل حلها؟</a:t>
                      </a:r>
                      <a:endParaRPr lang="ar-sa" sz="1000" b="1" u="none" strike="noStrike" dirty="0">
                        <a:solidFill>
                          <a:schemeClr val="accent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R="4625" marT="46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أسرار الطبيعة والعالم من حولنا</a:t>
                      </a:r>
                      <a:endParaRPr lang="ar-sa" sz="80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التحديات التقنية</a:t>
                      </a:r>
                    </a:p>
                    <a:p>
                      <a:pPr algn="ctr" fontAlgn="ctr"/>
                      <a:endParaRPr lang="ar-sa" sz="80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الألغاز الرياضية</a:t>
                      </a:r>
                    </a:p>
                    <a:p>
                      <a:pPr algn="ctr" fontAlgn="ctr"/>
                      <a:endParaRPr lang="ar-sa" sz="80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مشكلات التصميم وتسهيل الاستخدام</a:t>
                      </a:r>
                    </a:p>
                    <a:p>
                      <a:pPr algn="ctr" fontAlgn="ctr"/>
                      <a:endParaRPr lang="ar-sa" sz="80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المشكلات التنظيمية واللوجستية</a:t>
                      </a:r>
                      <a:endParaRPr lang="ar-sa" sz="80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7585229"/>
                  </a:ext>
                </a:extLst>
              </a:tr>
            </a:tbl>
          </a:graphicData>
        </a:graphic>
      </p:graphicFrame>
      <p:pic>
        <p:nvPicPr>
          <p:cNvPr id="2" name="Graphic 1" descr="Checkmark with solid fill">
            <a:extLst>
              <a:ext uri="{FF2B5EF4-FFF2-40B4-BE49-F238E27FC236}">
                <a16:creationId xmlns:a16="http://schemas.microsoft.com/office/drawing/2014/main" id="{C8081996-96AA-63BA-C90A-C55AD89E65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09871" y="1644167"/>
            <a:ext cx="402336" cy="402336"/>
          </a:xfrm>
          <a:prstGeom prst="rect">
            <a:avLst/>
          </a:prstGeom>
        </p:spPr>
      </p:pic>
      <p:pic>
        <p:nvPicPr>
          <p:cNvPr id="3" name="Graphic 2" descr="Checkmark with solid fill">
            <a:extLst>
              <a:ext uri="{FF2B5EF4-FFF2-40B4-BE49-F238E27FC236}">
                <a16:creationId xmlns:a16="http://schemas.microsoft.com/office/drawing/2014/main" id="{36D5DE2E-877B-F9E1-F581-1B3794D72A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65560" y="3738693"/>
            <a:ext cx="402336" cy="402336"/>
          </a:xfrm>
          <a:prstGeom prst="rect">
            <a:avLst/>
          </a:prstGeom>
        </p:spPr>
      </p:pic>
      <p:pic>
        <p:nvPicPr>
          <p:cNvPr id="6" name="Graphic 5" descr="Checkmark with solid fill">
            <a:extLst>
              <a:ext uri="{FF2B5EF4-FFF2-40B4-BE49-F238E27FC236}">
                <a16:creationId xmlns:a16="http://schemas.microsoft.com/office/drawing/2014/main" id="{7FC093A9-CADF-A9C5-6AAE-2A62380A91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81774" y="2370582"/>
            <a:ext cx="402336" cy="402336"/>
          </a:xfrm>
          <a:prstGeom prst="rect">
            <a:avLst/>
          </a:prstGeom>
        </p:spPr>
      </p:pic>
      <p:pic>
        <p:nvPicPr>
          <p:cNvPr id="7" name="Graphic 6" descr="Checkmark with solid fill">
            <a:extLst>
              <a:ext uri="{FF2B5EF4-FFF2-40B4-BE49-F238E27FC236}">
                <a16:creationId xmlns:a16="http://schemas.microsoft.com/office/drawing/2014/main" id="{8A6C3292-BB6D-F251-03A1-88EDD27D81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33926" y="2255944"/>
            <a:ext cx="402336" cy="402336"/>
          </a:xfrm>
          <a:prstGeom prst="rect">
            <a:avLst/>
          </a:prstGeom>
        </p:spPr>
      </p:pic>
      <p:pic>
        <p:nvPicPr>
          <p:cNvPr id="8" name="Graphic 7" descr="Checkmark with solid fill">
            <a:extLst>
              <a:ext uri="{FF2B5EF4-FFF2-40B4-BE49-F238E27FC236}">
                <a16:creationId xmlns:a16="http://schemas.microsoft.com/office/drawing/2014/main" id="{460C2CB8-9E46-C776-7180-06DED3E1F6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09871" y="2370582"/>
            <a:ext cx="402336" cy="402336"/>
          </a:xfrm>
          <a:prstGeom prst="rect">
            <a:avLst/>
          </a:prstGeom>
        </p:spPr>
      </p:pic>
      <p:pic>
        <p:nvPicPr>
          <p:cNvPr id="9" name="Graphic 8" descr="Checkmark with solid fill">
            <a:extLst>
              <a:ext uri="{FF2B5EF4-FFF2-40B4-BE49-F238E27FC236}">
                <a16:creationId xmlns:a16="http://schemas.microsoft.com/office/drawing/2014/main" id="{F3516D58-6672-A37F-8E64-2668E5847B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62941" y="1622511"/>
            <a:ext cx="402336" cy="402336"/>
          </a:xfrm>
          <a:prstGeom prst="rect">
            <a:avLst/>
          </a:prstGeom>
        </p:spPr>
      </p:pic>
      <p:pic>
        <p:nvPicPr>
          <p:cNvPr id="18" name="Graphic 17" descr="Checkmark with solid fill">
            <a:extLst>
              <a:ext uri="{FF2B5EF4-FFF2-40B4-BE49-F238E27FC236}">
                <a16:creationId xmlns:a16="http://schemas.microsoft.com/office/drawing/2014/main" id="{EA08A959-0D8D-8B22-932E-E30EC06E98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98320" y="1493944"/>
            <a:ext cx="402336" cy="402336"/>
          </a:xfrm>
          <a:prstGeom prst="rect">
            <a:avLst/>
          </a:prstGeom>
        </p:spPr>
      </p:pic>
      <p:pic>
        <p:nvPicPr>
          <p:cNvPr id="19" name="Graphic 18" descr="Checkmark with solid fill">
            <a:extLst>
              <a:ext uri="{FF2B5EF4-FFF2-40B4-BE49-F238E27FC236}">
                <a16:creationId xmlns:a16="http://schemas.microsoft.com/office/drawing/2014/main" id="{BD2F0F14-E31F-4B24-E3C0-2DEB22B26C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09871" y="3086100"/>
            <a:ext cx="402336" cy="402336"/>
          </a:xfrm>
          <a:prstGeom prst="rect">
            <a:avLst/>
          </a:prstGeom>
        </p:spPr>
      </p:pic>
      <p:pic>
        <p:nvPicPr>
          <p:cNvPr id="21" name="Graphic 20" descr="Checkmark with solid fill">
            <a:extLst>
              <a:ext uri="{FF2B5EF4-FFF2-40B4-BE49-F238E27FC236}">
                <a16:creationId xmlns:a16="http://schemas.microsoft.com/office/drawing/2014/main" id="{7F8FDA89-BDF0-FA25-2D89-7B1512F25C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21170" y="4379742"/>
            <a:ext cx="402336" cy="402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393622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5E46C0-6A84-5D50-E633-8E418593B8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DCF3C6B-CC54-B48B-0E57-C6B7E432CA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85" y="230387"/>
            <a:ext cx="7825174" cy="274637"/>
          </a:xfrm>
        </p:spPr>
        <p:txBody>
          <a:bodyPr/>
          <a:lstStyle/>
          <a:p>
            <a:r>
              <a:rPr lang="ar-OM" dirty="0"/>
              <a:t>قم باختبار المسارات المهنية القصير للتعرف على مسارك</a:t>
            </a:r>
            <a:r>
              <a:rPr lang="en-US" dirty="0"/>
              <a:t>!</a:t>
            </a:r>
            <a:r>
              <a:rPr lang="ar-OM" dirty="0"/>
              <a:t> (الجزء الثاني)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941C6FE-ECA6-26DE-4339-FAC5999AD2B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7230" y="643986"/>
            <a:ext cx="8429323" cy="175113"/>
          </a:xfrm>
        </p:spPr>
        <p:txBody>
          <a:bodyPr/>
          <a:lstStyle/>
          <a:p>
            <a:r>
              <a:rPr lang="ar-OM" dirty="0"/>
              <a:t>ضع دائرة على جميع الخيارات التي لها علاقة بك و تثير اهتمامك</a:t>
            </a: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6E21381-AD5A-0FC6-A0DF-16596868E46D}"/>
              </a:ext>
            </a:extLst>
          </p:cNvPr>
          <p:cNvGrpSpPr/>
          <p:nvPr/>
        </p:nvGrpSpPr>
        <p:grpSpPr>
          <a:xfrm>
            <a:off x="1004454" y="950551"/>
            <a:ext cx="7510896" cy="299276"/>
            <a:chOff x="271975" y="1922127"/>
            <a:chExt cx="6323458" cy="299276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E3DD951-F6EF-3975-2F97-8BFCAC7EDD6B}"/>
                </a:ext>
              </a:extLst>
            </p:cNvPr>
            <p:cNvSpPr txBox="1"/>
            <p:nvPr/>
          </p:nvSpPr>
          <p:spPr>
            <a:xfrm>
              <a:off x="271975" y="1922127"/>
              <a:ext cx="6323458" cy="281526"/>
            </a:xfrm>
            <a:prstGeom prst="roundRect">
              <a:avLst/>
            </a:prstGeom>
            <a:solidFill>
              <a:srgbClr val="6500FF"/>
            </a:solidFill>
          </p:spPr>
          <p:txBody>
            <a:bodyPr wrap="square">
              <a:spAutoFit/>
            </a:bodyPr>
            <a:lstStyle/>
            <a:p>
              <a:endParaRPr lang="en-US" sz="1000" b="1" dirty="0">
                <a:solidFill>
                  <a:schemeClr val="bg1"/>
                </a:solidFill>
                <a:latin typeface="Poppin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CD50E44-6873-B0FE-0A0B-92B9300A3329}"/>
                </a:ext>
              </a:extLst>
            </p:cNvPr>
            <p:cNvSpPr txBox="1"/>
            <p:nvPr/>
          </p:nvSpPr>
          <p:spPr>
            <a:xfrm>
              <a:off x="5871791" y="1939779"/>
              <a:ext cx="54106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ar-OM" sz="1200" b="1" dirty="0">
                  <a:solidFill>
                    <a:schemeClr val="bg2"/>
                  </a:solidFill>
                </a:rPr>
                <a:t>الأسئلة</a:t>
              </a:r>
              <a:endParaRPr lang="en-US" sz="1200" b="1" dirty="0">
                <a:solidFill>
                  <a:schemeClr val="bg2"/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9252E63-191C-688A-38D6-B1948ADF2C2D}"/>
                </a:ext>
              </a:extLst>
            </p:cNvPr>
            <p:cNvSpPr txBox="1"/>
            <p:nvPr/>
          </p:nvSpPr>
          <p:spPr>
            <a:xfrm>
              <a:off x="4897498" y="1939779"/>
              <a:ext cx="18937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ar-OM" sz="1200" b="1" dirty="0">
                  <a:solidFill>
                    <a:schemeClr val="bg2"/>
                  </a:solidFill>
                </a:rPr>
                <a:t>1</a:t>
              </a:r>
              <a:endParaRPr lang="en-US" sz="1200" b="1" dirty="0">
                <a:solidFill>
                  <a:schemeClr val="bg2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8E68CED-3627-DB9C-D713-325C840E17EF}"/>
                </a:ext>
              </a:extLst>
            </p:cNvPr>
            <p:cNvSpPr txBox="1"/>
            <p:nvPr/>
          </p:nvSpPr>
          <p:spPr>
            <a:xfrm>
              <a:off x="3879921" y="1944404"/>
              <a:ext cx="18937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ar-OM" sz="1200" b="1" dirty="0">
                  <a:solidFill>
                    <a:schemeClr val="bg2"/>
                  </a:solidFill>
                </a:rPr>
                <a:t>2</a:t>
              </a:r>
              <a:endParaRPr lang="en-US" sz="1200" b="1" dirty="0">
                <a:solidFill>
                  <a:schemeClr val="bg2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1A41E35-829C-296B-5675-0BD676C93466}"/>
                </a:ext>
              </a:extLst>
            </p:cNvPr>
            <p:cNvSpPr txBox="1"/>
            <p:nvPr/>
          </p:nvSpPr>
          <p:spPr>
            <a:xfrm>
              <a:off x="2823485" y="1944403"/>
              <a:ext cx="18937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ar-OM" sz="1200" b="1" dirty="0">
                  <a:solidFill>
                    <a:schemeClr val="bg2"/>
                  </a:solidFill>
                </a:rPr>
                <a:t>3</a:t>
              </a:r>
              <a:endParaRPr lang="en-US" b="1" dirty="0">
                <a:solidFill>
                  <a:schemeClr val="bg2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82841FC-4712-4A92-B1B1-EF105A9898CD}"/>
                </a:ext>
              </a:extLst>
            </p:cNvPr>
            <p:cNvSpPr txBox="1"/>
            <p:nvPr/>
          </p:nvSpPr>
          <p:spPr>
            <a:xfrm>
              <a:off x="1767049" y="1939779"/>
              <a:ext cx="18937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ar-OM" sz="1200" b="1" dirty="0">
                  <a:solidFill>
                    <a:schemeClr val="bg2"/>
                  </a:solidFill>
                </a:rPr>
                <a:t>4</a:t>
              </a:r>
              <a:endParaRPr lang="en-US" b="1" dirty="0">
                <a:solidFill>
                  <a:schemeClr val="bg2"/>
                </a:solidFill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5AC30739-0E25-9D10-0B47-A59951424347}"/>
                </a:ext>
              </a:extLst>
            </p:cNvPr>
            <p:cNvSpPr txBox="1"/>
            <p:nvPr/>
          </p:nvSpPr>
          <p:spPr>
            <a:xfrm>
              <a:off x="710612" y="1925414"/>
              <a:ext cx="18937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ar-OM" sz="1200" b="1" dirty="0">
                  <a:solidFill>
                    <a:schemeClr val="bg2"/>
                  </a:solidFill>
                </a:rPr>
                <a:t>5</a:t>
              </a:r>
              <a:endParaRPr lang="en-US" b="1" dirty="0">
                <a:solidFill>
                  <a:schemeClr val="bg2"/>
                </a:solidFill>
              </a:endParaRPr>
            </a:p>
          </p:txBody>
        </p:sp>
      </p:grp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F217672E-7798-16C0-171A-DE535C31AD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4251982"/>
              </p:ext>
            </p:extLst>
          </p:nvPr>
        </p:nvGraphicFramePr>
        <p:xfrm>
          <a:off x="1004454" y="1295400"/>
          <a:ext cx="7510896" cy="3486678"/>
        </p:xfrm>
        <a:graphic>
          <a:graphicData uri="http://schemas.openxmlformats.org/drawingml/2006/table">
            <a:tbl>
              <a:tblPr rtl="1">
                <a:tableStyleId>{616DA210-FB5B-4158-B5E0-FEB733F419BA}</a:tableStyleId>
              </a:tblPr>
              <a:tblGrid>
                <a:gridCol w="1251816">
                  <a:extLst>
                    <a:ext uri="{9D8B030D-6E8A-4147-A177-3AD203B41FA5}">
                      <a16:colId xmlns:a16="http://schemas.microsoft.com/office/drawing/2014/main" val="3760671358"/>
                    </a:ext>
                  </a:extLst>
                </a:gridCol>
                <a:gridCol w="1251816">
                  <a:extLst>
                    <a:ext uri="{9D8B030D-6E8A-4147-A177-3AD203B41FA5}">
                      <a16:colId xmlns:a16="http://schemas.microsoft.com/office/drawing/2014/main" val="601328382"/>
                    </a:ext>
                  </a:extLst>
                </a:gridCol>
                <a:gridCol w="1251816">
                  <a:extLst>
                    <a:ext uri="{9D8B030D-6E8A-4147-A177-3AD203B41FA5}">
                      <a16:colId xmlns:a16="http://schemas.microsoft.com/office/drawing/2014/main" val="3421750460"/>
                    </a:ext>
                  </a:extLst>
                </a:gridCol>
                <a:gridCol w="1251816">
                  <a:extLst>
                    <a:ext uri="{9D8B030D-6E8A-4147-A177-3AD203B41FA5}">
                      <a16:colId xmlns:a16="http://schemas.microsoft.com/office/drawing/2014/main" val="2304332935"/>
                    </a:ext>
                  </a:extLst>
                </a:gridCol>
                <a:gridCol w="1251816">
                  <a:extLst>
                    <a:ext uri="{9D8B030D-6E8A-4147-A177-3AD203B41FA5}">
                      <a16:colId xmlns:a16="http://schemas.microsoft.com/office/drawing/2014/main" val="3645091493"/>
                    </a:ext>
                  </a:extLst>
                </a:gridCol>
                <a:gridCol w="1251816">
                  <a:extLst>
                    <a:ext uri="{9D8B030D-6E8A-4147-A177-3AD203B41FA5}">
                      <a16:colId xmlns:a16="http://schemas.microsoft.com/office/drawing/2014/main" val="820983460"/>
                    </a:ext>
                  </a:extLst>
                </a:gridCol>
              </a:tblGrid>
              <a:tr h="757026">
                <a:tc>
                  <a:txBody>
                    <a:bodyPr/>
                    <a:lstStyle/>
                    <a:p>
                      <a:pPr algn="ctr" fontAlgn="ctr"/>
                      <a:r>
                        <a:rPr lang="ar-sa" sz="1000" b="1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6. أي من هذه الهوايات تستمتع بها أكثر؟</a:t>
                      </a:r>
                      <a:endParaRPr lang="ar-sa" sz="1000" b="1" u="none" strike="noStrike" dirty="0">
                        <a:solidFill>
                          <a:schemeClr val="accent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R="4625" marT="46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>
                          <a:effectLst/>
                        </a:rPr>
                        <a:t>قراءة قصص الخيال العلمي والتعلّم  </a:t>
                      </a:r>
                      <a:endParaRPr lang="ar-sa" sz="800" u="none" strike="noStrike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>
                          <a:effectLst/>
                        </a:rPr>
                        <a:t>بناء الأدوات أو النماذج</a:t>
                      </a: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>
                          <a:effectLst/>
                        </a:rPr>
                        <a:t> لعب ألعاب الاستراتيجية</a:t>
                      </a:r>
                      <a:endParaRPr lang="ar-sa" sz="800" u="none" strike="noStrike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>
                          <a:effectLst/>
                        </a:rPr>
                        <a:t>الرسم أو الأشغال اليدوية</a:t>
                      </a: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effectLst/>
                        </a:rPr>
                        <a:t> التخطيط وتنظيم الفعاليات</a:t>
                      </a:r>
                      <a:endParaRPr lang="ar-sa" sz="800" u="none" strike="noStrike" dirty="0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0600967"/>
                  </a:ext>
                </a:extLst>
              </a:tr>
              <a:tr h="682413">
                <a:tc>
                  <a:txBody>
                    <a:bodyPr/>
                    <a:lstStyle/>
                    <a:p>
                      <a:pPr algn="ctr" fontAlgn="ctr"/>
                      <a:r>
                        <a:rPr lang="ar-sa" sz="1000" b="1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7. كيف تتعامل مع المهام الجديدة؟</a:t>
                      </a:r>
                      <a:endParaRPr lang="ar-sa" sz="1000" b="1" u="none" strike="noStrike" dirty="0">
                        <a:solidFill>
                          <a:schemeClr val="accent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R="4625" marT="46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>
                          <a:effectLst/>
                        </a:rPr>
                        <a:t>إجراء بحث معمّق قبل البدء</a:t>
                      </a:r>
                      <a:endParaRPr lang="ar-sa" sz="800" u="none" strike="noStrike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>
                          <a:effectLst/>
                        </a:rPr>
                        <a:t>الانطلاق مباشرة والبدء بالبناء والتجربة</a:t>
                      </a:r>
                      <a:endParaRPr lang="ar-sa" sz="800" u="none" strike="noStrike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>
                          <a:effectLst/>
                        </a:rPr>
                        <a:t>تقسيم المهمة إلى خطوات منطقية</a:t>
                      </a:r>
                      <a:endParaRPr lang="ar-sa" sz="800" u="none" strike="noStrike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>
                          <a:effectLst/>
                        </a:rPr>
                        <a:t>التفكير بإبداع وخارج الصندوق</a:t>
                      </a:r>
                      <a:endParaRPr lang="ar-sa" sz="800" u="none" strike="noStrike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effectLst/>
                        </a:rPr>
                        <a:t>التخطيط وتوزيع المهام</a:t>
                      </a: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0598662"/>
                  </a:ext>
                </a:extLst>
              </a:tr>
              <a:tr h="682413">
                <a:tc>
                  <a:txBody>
                    <a:bodyPr/>
                    <a:lstStyle/>
                    <a:p>
                      <a:pPr algn="ctr" fontAlgn="ctr"/>
                      <a:r>
                        <a:rPr lang="ar-sa" sz="1000" b="1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 8. ما نوع الكتب أو الأفلام التي تفضلها؟</a:t>
                      </a:r>
                      <a:endParaRPr lang="ar-sa" sz="1000" b="1" u="none" strike="noStrike" dirty="0">
                        <a:solidFill>
                          <a:schemeClr val="accent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R="4625" marT="46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>
                          <a:effectLst/>
                        </a:rPr>
                        <a:t>الأفلام الوثائقية أو الخيال العلمي</a:t>
                      </a:r>
                      <a:endParaRPr lang="ar-sa" sz="800" u="none" strike="noStrike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>
                          <a:effectLst/>
                        </a:rPr>
                        <a:t>قصص التشويق التقنية أو روائع الهندسة</a:t>
                      </a:r>
                      <a:endParaRPr lang="ar-sa" sz="800" u="none" strike="noStrike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>
                          <a:effectLst/>
                        </a:rPr>
                        <a:t>قصص الغموض أو التحقيقات البوليسية</a:t>
                      </a: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>
                          <a:effectLst/>
                        </a:rPr>
                        <a:t> الأفلام الإبداعية والفنية</a:t>
                      </a:r>
                      <a:endParaRPr lang="ar-sa" sz="800" u="none" strike="noStrike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effectLst/>
                        </a:rPr>
                        <a:t>قصص القيادة والتحفيز</a:t>
                      </a:r>
                      <a:endParaRPr lang="ar-sa" sz="800" u="none" strike="noStrike" dirty="0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9935511"/>
                  </a:ext>
                </a:extLst>
              </a:tr>
              <a:tr h="682413">
                <a:tc>
                  <a:txBody>
                    <a:bodyPr/>
                    <a:lstStyle/>
                    <a:p>
                      <a:pPr algn="ctr" fontAlgn="ctr"/>
                      <a:r>
                        <a:rPr lang="ar-sa" sz="1000" b="1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9. كيف تتعامل مع التحديات؟</a:t>
                      </a:r>
                      <a:endParaRPr lang="ar-sa" sz="1000" b="1" u="none" strike="noStrike" dirty="0">
                        <a:solidFill>
                          <a:schemeClr val="accent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R="4625" marT="46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>
                          <a:effectLst/>
                        </a:rPr>
                        <a:t>البحث والتجربة لإيجاد الحلول</a:t>
                      </a:r>
                      <a:endParaRPr lang="ar-sa" sz="800" u="none" strike="noStrike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>
                          <a:effectLst/>
                        </a:rPr>
                        <a:t>استخدام التكنولوجيا والأدوات لحلها</a:t>
                      </a:r>
                      <a:endParaRPr lang="ar-sa" sz="800" u="none" strike="noStrike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>
                          <a:effectLst/>
                        </a:rPr>
                        <a:t>تحليل البيانات والأنماط</a:t>
                      </a:r>
                      <a:endParaRPr lang="ar-sa" sz="800" u="none" strike="noStrike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>
                          <a:effectLst/>
                        </a:rPr>
                        <a:t>التفكير بإبداع وابتكار</a:t>
                      </a: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effectLst/>
                        </a:rPr>
                        <a:t> التخطيط الاستراتيجي وقيادة الفريق</a:t>
                      </a: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9900061"/>
                  </a:ext>
                </a:extLst>
              </a:tr>
              <a:tr h="682413">
                <a:tc>
                  <a:txBody>
                    <a:bodyPr/>
                    <a:lstStyle/>
                    <a:p>
                      <a:pPr algn="ctr" fontAlgn="ctr"/>
                      <a:r>
                        <a:rPr lang="ar-sa" sz="1000" b="1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 10. ما هي وظيفة أحلامك؟</a:t>
                      </a:r>
                      <a:endParaRPr lang="ar-sa" sz="1000" b="1" u="none" strike="noStrike" dirty="0">
                        <a:solidFill>
                          <a:schemeClr val="accent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R="4625" marT="46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>
                          <a:effectLst/>
                        </a:rPr>
                        <a:t>عالم أو أستاذ جامعي</a:t>
                      </a: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effectLst/>
                        </a:rPr>
                        <a:t> مهندس أو مطوّر برمجيات</a:t>
                      </a: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760999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sa" sz="800" u="none" strike="noStrike">
                          <a:effectLst/>
                        </a:rPr>
                        <a:t> عالم بيانات أو محلل بيانات</a:t>
                      </a: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>
                          <a:effectLst/>
                        </a:rPr>
                        <a:t> مصمم أو مبتكر</a:t>
                      </a: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effectLst/>
                        </a:rPr>
                        <a:t> مدير مشروع أو قائد فريق</a:t>
                      </a:r>
                    </a:p>
                  </a:txBody>
                  <a:tcPr marL="4625" marR="4625" marT="4625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7585229"/>
                  </a:ext>
                </a:extLst>
              </a:tr>
            </a:tbl>
          </a:graphicData>
        </a:graphic>
      </p:graphicFrame>
      <p:pic>
        <p:nvPicPr>
          <p:cNvPr id="2" name="Graphic 1" descr="Checkmark with solid fill">
            <a:extLst>
              <a:ext uri="{FF2B5EF4-FFF2-40B4-BE49-F238E27FC236}">
                <a16:creationId xmlns:a16="http://schemas.microsoft.com/office/drawing/2014/main" id="{AADDEF53-6338-E2CE-6C08-8018462BF8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31848" y="1610627"/>
            <a:ext cx="402336" cy="402336"/>
          </a:xfrm>
          <a:prstGeom prst="rect">
            <a:avLst/>
          </a:prstGeom>
        </p:spPr>
      </p:pic>
      <p:pic>
        <p:nvPicPr>
          <p:cNvPr id="3" name="Graphic 2" descr="Checkmark with solid fill">
            <a:extLst>
              <a:ext uri="{FF2B5EF4-FFF2-40B4-BE49-F238E27FC236}">
                <a16:creationId xmlns:a16="http://schemas.microsoft.com/office/drawing/2014/main" id="{A2B9081E-7EE7-9A52-9FEF-3D6F6AD96E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11039" y="3046053"/>
            <a:ext cx="402336" cy="402336"/>
          </a:xfrm>
          <a:prstGeom prst="rect">
            <a:avLst/>
          </a:prstGeom>
        </p:spPr>
      </p:pic>
      <p:pic>
        <p:nvPicPr>
          <p:cNvPr id="6" name="Graphic 5" descr="Checkmark with solid fill">
            <a:extLst>
              <a:ext uri="{FF2B5EF4-FFF2-40B4-BE49-F238E27FC236}">
                <a16:creationId xmlns:a16="http://schemas.microsoft.com/office/drawing/2014/main" id="{F63AC74F-B6C8-567F-B5E3-FE533537B4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31848" y="4425315"/>
            <a:ext cx="402336" cy="402336"/>
          </a:xfrm>
          <a:prstGeom prst="rect">
            <a:avLst/>
          </a:prstGeom>
        </p:spPr>
      </p:pic>
      <p:pic>
        <p:nvPicPr>
          <p:cNvPr id="7" name="Graphic 6" descr="Checkmark with solid fill">
            <a:extLst>
              <a:ext uri="{FF2B5EF4-FFF2-40B4-BE49-F238E27FC236}">
                <a16:creationId xmlns:a16="http://schemas.microsoft.com/office/drawing/2014/main" id="{B55D9060-6DDC-6388-F800-21CAEC9536B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12173" y="4379742"/>
            <a:ext cx="402336" cy="402336"/>
          </a:xfrm>
          <a:prstGeom prst="rect">
            <a:avLst/>
          </a:prstGeom>
        </p:spPr>
      </p:pic>
      <p:pic>
        <p:nvPicPr>
          <p:cNvPr id="8" name="Graphic 7" descr="Checkmark with solid fill">
            <a:extLst>
              <a:ext uri="{FF2B5EF4-FFF2-40B4-BE49-F238E27FC236}">
                <a16:creationId xmlns:a16="http://schemas.microsoft.com/office/drawing/2014/main" id="{984FD2F0-56BE-9112-8037-A60C208A5B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864509" y="3046053"/>
            <a:ext cx="402336" cy="402336"/>
          </a:xfrm>
          <a:prstGeom prst="rect">
            <a:avLst/>
          </a:prstGeom>
        </p:spPr>
      </p:pic>
      <p:pic>
        <p:nvPicPr>
          <p:cNvPr id="9" name="Graphic 8" descr="Checkmark with solid fill">
            <a:extLst>
              <a:ext uri="{FF2B5EF4-FFF2-40B4-BE49-F238E27FC236}">
                <a16:creationId xmlns:a16="http://schemas.microsoft.com/office/drawing/2014/main" id="{577A55CA-DFD1-F31D-41C3-5DF5C77A0A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08232" y="3705921"/>
            <a:ext cx="402336" cy="402336"/>
          </a:xfrm>
          <a:prstGeom prst="rect">
            <a:avLst/>
          </a:prstGeom>
        </p:spPr>
      </p:pic>
      <p:pic>
        <p:nvPicPr>
          <p:cNvPr id="18" name="Graphic 17" descr="Checkmark with solid fill">
            <a:extLst>
              <a:ext uri="{FF2B5EF4-FFF2-40B4-BE49-F238E27FC236}">
                <a16:creationId xmlns:a16="http://schemas.microsoft.com/office/drawing/2014/main" id="{945EAD20-7BD5-DA4B-2AA0-13EDBCAE6B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12173" y="1695112"/>
            <a:ext cx="402336" cy="402336"/>
          </a:xfrm>
          <a:prstGeom prst="rect">
            <a:avLst/>
          </a:prstGeom>
        </p:spPr>
      </p:pic>
      <p:pic>
        <p:nvPicPr>
          <p:cNvPr id="19" name="Graphic 18" descr="Checkmark with solid fill">
            <a:extLst>
              <a:ext uri="{FF2B5EF4-FFF2-40B4-BE49-F238E27FC236}">
                <a16:creationId xmlns:a16="http://schemas.microsoft.com/office/drawing/2014/main" id="{FE90613C-3124-84CF-96B5-B817C0B78D2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69555" y="1646344"/>
            <a:ext cx="402336" cy="402336"/>
          </a:xfrm>
          <a:prstGeom prst="rect">
            <a:avLst/>
          </a:prstGeom>
        </p:spPr>
      </p:pic>
      <p:pic>
        <p:nvPicPr>
          <p:cNvPr id="21" name="Graphic 20" descr="Checkmark with solid fill">
            <a:extLst>
              <a:ext uri="{FF2B5EF4-FFF2-40B4-BE49-F238E27FC236}">
                <a16:creationId xmlns:a16="http://schemas.microsoft.com/office/drawing/2014/main" id="{22441224-8DB0-F7DE-71D3-CEF54B50E8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60028" y="3038739"/>
            <a:ext cx="402336" cy="402336"/>
          </a:xfrm>
          <a:prstGeom prst="rect">
            <a:avLst/>
          </a:prstGeom>
        </p:spPr>
      </p:pic>
      <p:pic>
        <p:nvPicPr>
          <p:cNvPr id="22" name="Graphic 21" descr="Checkmark with solid fill">
            <a:extLst>
              <a:ext uri="{FF2B5EF4-FFF2-40B4-BE49-F238E27FC236}">
                <a16:creationId xmlns:a16="http://schemas.microsoft.com/office/drawing/2014/main" id="{6F216A7A-2C81-8B0E-DD9F-8F762F85AD1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3099" y="1646344"/>
            <a:ext cx="402336" cy="402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48079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C469275-CE14-2C99-D8E1-34B22F7444B2}"/>
              </a:ext>
            </a:extLst>
          </p:cNvPr>
          <p:cNvSpPr/>
          <p:nvPr/>
        </p:nvSpPr>
        <p:spPr>
          <a:xfrm>
            <a:off x="292542" y="2744580"/>
            <a:ext cx="4233738" cy="4408060"/>
          </a:xfrm>
          <a:prstGeom prst="roundRect">
            <a:avLst>
              <a:gd name="adj" fmla="val 20411"/>
            </a:avLst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3BE536A5-FD29-8F23-409F-82E0307B5C04}"/>
              </a:ext>
            </a:extLst>
          </p:cNvPr>
          <p:cNvSpPr/>
          <p:nvPr/>
        </p:nvSpPr>
        <p:spPr>
          <a:xfrm>
            <a:off x="4617720" y="2744580"/>
            <a:ext cx="4233738" cy="4408060"/>
          </a:xfrm>
          <a:prstGeom prst="roundRect">
            <a:avLst>
              <a:gd name="adj" fmla="val 20411"/>
            </a:avLst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9FFE664-D77A-5230-A92D-25069C2C37A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5050" y="3384479"/>
            <a:ext cx="4110432" cy="1239930"/>
          </a:xfrm>
        </p:spPr>
        <p:txBody>
          <a:bodyPr>
            <a:normAutofit/>
          </a:bodyPr>
          <a:lstStyle/>
          <a:p>
            <a:pPr algn="ctr"/>
            <a:r>
              <a:rPr lang="ar-sa" sz="1600">
                <a:latin typeface="Sakkal Majalla" panose="02000000000000000000" pitchFamily="2" charset="-78"/>
                <a:cs typeface="Sakkal Majalla" panose="02000000000000000000" pitchFamily="2" charset="-78"/>
              </a:rPr>
              <a:t>يكتشفون معارف جديدة ويفهمون كيفية عمل الأشياء. </a:t>
            </a:r>
            <a:br>
              <a:rPr lang="ar-sa" sz="1600">
                <a:latin typeface="Sakkal Majalla" panose="02000000000000000000" pitchFamily="2" charset="-78"/>
                <a:cs typeface="Sakkal Majalla" panose="02000000000000000000" pitchFamily="2" charset="-78"/>
              </a:rPr>
            </a:br>
            <a:br>
              <a:rPr lang="ar-sa" sz="1600">
                <a:latin typeface="Sakkal Majalla" panose="02000000000000000000" pitchFamily="2" charset="-78"/>
                <a:cs typeface="Sakkal Majalla" panose="02000000000000000000" pitchFamily="2" charset="-78"/>
              </a:rPr>
            </a:br>
            <a:r>
              <a:rPr lang="ar-sa" sz="1600">
                <a:latin typeface="Sakkal Majalla" panose="02000000000000000000" pitchFamily="2" charset="-78"/>
                <a:cs typeface="Sakkal Majalla" panose="02000000000000000000" pitchFamily="2" charset="-78"/>
              </a:rPr>
              <a:t>يفضّلون التفكير ومناقشة النظريات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FAF760E-F22A-B818-D13E-C63CE5F01C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684320" y="3384480"/>
            <a:ext cx="4110432" cy="1239930"/>
          </a:xfrm>
        </p:spPr>
        <p:txBody>
          <a:bodyPr>
            <a:normAutofit/>
          </a:bodyPr>
          <a:lstStyle/>
          <a:p>
            <a:pPr algn="ctr"/>
            <a:r>
              <a:rPr lang="ar-sa" sz="16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يطوّرون حلول</a:t>
            </a:r>
            <a:r>
              <a:rPr lang="ar-SA" sz="16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ً</a:t>
            </a:r>
            <a:r>
              <a:rPr lang="ar-sa" sz="16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 للمشكلات التقنية.</a:t>
            </a:r>
          </a:p>
          <a:p>
            <a:pPr algn="ctr"/>
            <a:r>
              <a:rPr lang="ar-sa" sz="16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 يفضّلون الجانب العملي وبناء الأنظمة والأدوات.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A80CB1A-0001-95D2-639F-BC87F7F219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048" y="274638"/>
            <a:ext cx="8570671" cy="274637"/>
          </a:xfrm>
        </p:spPr>
        <p:txBody>
          <a:bodyPr/>
          <a:lstStyle/>
          <a:p>
            <a:pPr algn="ctr"/>
            <a:r>
              <a:rPr lang="ar-sa" sz="3200">
                <a:latin typeface="Sakkal Majalla" panose="02000000000000000000" pitchFamily="2" charset="-78"/>
                <a:cs typeface="Sakkal Majalla" panose="02000000000000000000" pitchFamily="2" charset="-78"/>
              </a:rPr>
              <a:t>الباحثون والمهندسون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E193389-7C7E-49C1-D466-9EE386CC3F0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57338" y="777445"/>
            <a:ext cx="8429323" cy="175113"/>
          </a:xfrm>
        </p:spPr>
        <p:txBody>
          <a:bodyPr/>
          <a:lstStyle/>
          <a:p>
            <a:pPr algn="ctr"/>
            <a:r>
              <a:rPr lang="ar-sa" sz="1600">
                <a:latin typeface="Sakkal Majalla" panose="02000000000000000000" pitchFamily="2" charset="-78"/>
                <a:cs typeface="Sakkal Majalla" panose="02000000000000000000" pitchFamily="2" charset="-78"/>
              </a:rPr>
              <a:t>يبنون تكنولوجيا المستقبل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B19D5BC-4E04-8FBE-6E42-92AA6DCE0B0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65048" y="3051811"/>
            <a:ext cx="4110432" cy="191433"/>
          </a:xfrm>
        </p:spPr>
        <p:txBody>
          <a:bodyPr/>
          <a:lstStyle/>
          <a:p>
            <a:pPr algn="ctr"/>
            <a:r>
              <a:rPr lang="ar-sa" sz="32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باحثون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0F04DEF-7E6A-1B22-9377-C8E82550310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84320" y="3051811"/>
            <a:ext cx="4110053" cy="191433"/>
          </a:xfrm>
        </p:spPr>
        <p:txBody>
          <a:bodyPr/>
          <a:lstStyle/>
          <a:p>
            <a:pPr algn="ctr"/>
            <a:r>
              <a:rPr lang="ar-sa" sz="28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مهندسون</a:t>
            </a:r>
          </a:p>
        </p:txBody>
      </p:sp>
      <p:pic>
        <p:nvPicPr>
          <p:cNvPr id="2" name="Content Placeholder 6">
            <a:extLst>
              <a:ext uri="{FF2B5EF4-FFF2-40B4-BE49-F238E27FC236}">
                <a16:creationId xmlns:a16="http://schemas.microsoft.com/office/drawing/2014/main" id="{C58813CB-F976-4B72-BD46-D151498F5C83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4328" y="1326651"/>
            <a:ext cx="1273168" cy="128656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6526C8D-8B84-9D76-A87E-2C2B57813450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8227" y="1320533"/>
            <a:ext cx="3138874" cy="128656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CFF4A20-1248-A7DE-9858-93C06E8854C3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7832" y="1320533"/>
            <a:ext cx="2828374" cy="128656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357FA93-A736-3113-2133-ACD323EDC161}"/>
              </a:ext>
            </a:extLst>
          </p:cNvPr>
          <p:cNvSpPr/>
          <p:nvPr/>
        </p:nvSpPr>
        <p:spPr>
          <a:xfrm>
            <a:off x="0" y="0"/>
            <a:ext cx="1205829" cy="228987"/>
          </a:xfrm>
          <a:prstGeom prst="rect">
            <a:avLst/>
          </a:prstGeom>
          <a:gradFill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sa" sz="11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تكنولوجيا</a:t>
            </a:r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673FDC72-0BF9-43C9-8B92-3622C3C9D567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7417EF70-392C-3032-AD35-69DC86C90194}"/>
              </a:ext>
            </a:extLst>
          </p:cNvPr>
          <p:cNvSpPr/>
          <p:nvPr/>
        </p:nvSpPr>
        <p:spPr>
          <a:xfrm>
            <a:off x="7683165" y="2700031"/>
            <a:ext cx="365700" cy="27071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Poppins"/>
              </a:rPr>
              <a:t>1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3A07F447-93F3-30F2-BEB5-AD381FD48CCC}"/>
              </a:ext>
            </a:extLst>
          </p:cNvPr>
          <p:cNvSpPr/>
          <p:nvPr/>
        </p:nvSpPr>
        <p:spPr>
          <a:xfrm>
            <a:off x="3366300" y="2702151"/>
            <a:ext cx="365700" cy="27071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Poppins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2709522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D89FA0-F7FC-1E31-61BD-5BA5762C95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10C35B-7938-D330-C06E-67B30C7A99B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295043" y="1897381"/>
            <a:ext cx="6553913" cy="1252686"/>
          </a:xfrm>
        </p:spPr>
        <p:txBody>
          <a:bodyPr/>
          <a:lstStyle/>
          <a:p>
            <a:pPr algn="ctr"/>
            <a:r>
              <a:rPr lang="ar-AE" sz="40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ما</a:t>
            </a:r>
            <a:r>
              <a:rPr lang="ar-sa" sz="40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 التكنولوجيا الأقرب إلى اهتماماتك؟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1C76B2-A05C-4027-A12C-005A654AE7E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84351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17FC500B-4A9D-A83F-7C46-B6D138092B16}"/>
              </a:ext>
            </a:extLst>
          </p:cNvPr>
          <p:cNvSpPr/>
          <p:nvPr/>
        </p:nvSpPr>
        <p:spPr>
          <a:xfrm>
            <a:off x="221422" y="1459340"/>
            <a:ext cx="2818957" cy="4408060"/>
          </a:xfrm>
          <a:prstGeom prst="roundRect">
            <a:avLst>
              <a:gd name="adj" fmla="val 20411"/>
            </a:avLst>
          </a:prstGeom>
          <a:gradFill flip="none" rotWithShape="1">
            <a:gsLst>
              <a:gs pos="0">
                <a:schemeClr val="accent6">
                  <a:lumMod val="89000"/>
                </a:schemeClr>
              </a:gs>
              <a:gs pos="23000">
                <a:schemeClr val="accent6">
                  <a:lumMod val="89000"/>
                </a:schemeClr>
              </a:gs>
              <a:gs pos="69000">
                <a:schemeClr val="accent6">
                  <a:lumMod val="75000"/>
                </a:schemeClr>
              </a:gs>
              <a:gs pos="97000">
                <a:schemeClr val="accent6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ar-sa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يشملون خبراء الأعمال والحكومات والقانون</a:t>
            </a:r>
            <a:endParaRPr lang="en-US" sz="800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7CBAC0E2-0EC7-27E3-452C-037F57A317C8}"/>
              </a:ext>
            </a:extLst>
          </p:cNvPr>
          <p:cNvSpPr/>
          <p:nvPr/>
        </p:nvSpPr>
        <p:spPr>
          <a:xfrm>
            <a:off x="6103621" y="1459340"/>
            <a:ext cx="2818957" cy="4408060"/>
          </a:xfrm>
          <a:prstGeom prst="roundRect">
            <a:avLst>
              <a:gd name="adj" fmla="val 20411"/>
            </a:avLst>
          </a:prstGeom>
          <a:gradFill flip="none" rotWithShape="1">
            <a:gsLst>
              <a:gs pos="0">
                <a:schemeClr val="accent6">
                  <a:lumMod val="89000"/>
                </a:schemeClr>
              </a:gs>
              <a:gs pos="23000">
                <a:schemeClr val="accent6">
                  <a:lumMod val="89000"/>
                </a:schemeClr>
              </a:gs>
              <a:gs pos="69000">
                <a:schemeClr val="accent6">
                  <a:lumMod val="75000"/>
                </a:schemeClr>
              </a:gs>
              <a:gs pos="97000">
                <a:schemeClr val="accent6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ar-sa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يشملون محللي الأعمال، علماء البيانات، والمحللين الماليين.</a:t>
            </a:r>
            <a:endParaRPr kumimoji="0" lang="ar-sa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85C027DD-FA61-3615-B391-087391AB1A1E}"/>
              </a:ext>
            </a:extLst>
          </p:cNvPr>
          <p:cNvSpPr/>
          <p:nvPr/>
        </p:nvSpPr>
        <p:spPr>
          <a:xfrm>
            <a:off x="3157721" y="1459340"/>
            <a:ext cx="2818957" cy="4408060"/>
          </a:xfrm>
          <a:prstGeom prst="roundRect">
            <a:avLst>
              <a:gd name="adj" fmla="val 20411"/>
            </a:avLst>
          </a:prstGeom>
          <a:gradFill flip="none" rotWithShape="1">
            <a:gsLst>
              <a:gs pos="0">
                <a:schemeClr val="accent6">
                  <a:lumMod val="89000"/>
                </a:schemeClr>
              </a:gs>
              <a:gs pos="23000">
                <a:schemeClr val="accent6">
                  <a:lumMod val="89000"/>
                </a:schemeClr>
              </a:gs>
              <a:gs pos="69000">
                <a:schemeClr val="accent6">
                  <a:lumMod val="75000"/>
                </a:schemeClr>
              </a:gs>
              <a:gs pos="97000">
                <a:schemeClr val="accent6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ar-sa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 يشملون خبراء التسويق والإعلام.</a:t>
            </a:r>
            <a:endParaRPr kumimoji="0" lang="ar-sa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52378BB-BA39-32FF-C6A1-B4A33E399BE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65048" y="1821517"/>
            <a:ext cx="2675331" cy="191433"/>
          </a:xfrm>
        </p:spPr>
        <p:txBody>
          <a:bodyPr/>
          <a:lstStyle/>
          <a:p>
            <a:pPr algn="ctr"/>
            <a:r>
              <a:rPr lang="ar-sa" sz="24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قادة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EC84387-D522-6528-67D8-8BAA3695784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249855" y="1821517"/>
            <a:ext cx="2675331" cy="191433"/>
          </a:xfrm>
        </p:spPr>
        <p:txBody>
          <a:bodyPr/>
          <a:lstStyle/>
          <a:p>
            <a:pPr algn="ctr"/>
            <a:r>
              <a:rPr lang="ar-sa" sz="24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مبدعون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586C2D5-7367-E7AB-4FE3-3F21CFCDF29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260767" y="1821517"/>
            <a:ext cx="2674952" cy="191433"/>
          </a:xfrm>
        </p:spPr>
        <p:txBody>
          <a:bodyPr/>
          <a:lstStyle/>
          <a:p>
            <a:pPr algn="ctr"/>
            <a:r>
              <a:rPr lang="ar-sa" sz="24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خبراء البيانات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510F218-EBDA-CDE8-EC4B-19701F28506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5050" y="2154187"/>
            <a:ext cx="2675331" cy="840881"/>
          </a:xfrm>
        </p:spPr>
        <p:txBody>
          <a:bodyPr>
            <a:noAutofit/>
          </a:bodyPr>
          <a:lstStyle/>
          <a:p>
            <a:pPr algn="ctr"/>
            <a:r>
              <a:rPr lang="ar-sa" sz="16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يقودون الفرق ويُديرون الأفراد ووكلاء الذكاء الاصطناعي لتحقيق أفضل النتائج بفعالية ووفقاً للميزانية المحددة.</a:t>
            </a:r>
          </a:p>
          <a:p>
            <a:pPr algn="ctr"/>
            <a:endParaRPr lang="en-US" sz="1600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F012614-7F02-FB1A-D682-6F07C3D9D67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229535" y="2154187"/>
            <a:ext cx="2818956" cy="840882"/>
          </a:xfrm>
        </p:spPr>
        <p:txBody>
          <a:bodyPr>
            <a:noAutofit/>
          </a:bodyPr>
          <a:lstStyle/>
          <a:p>
            <a:pPr algn="ctr"/>
            <a:r>
              <a:rPr lang="ar-sa" sz="16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يطوّرون تصاميم مبتكرة وعملية وجميلة وينقلونها للعالم.</a:t>
            </a:r>
          </a:p>
          <a:p>
            <a:pPr algn="ctr"/>
            <a:endParaRPr lang="en-US" sz="1600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D0898D8-3D87-0547-A796-A5974849FC4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12840" y="2154188"/>
            <a:ext cx="2675331" cy="547448"/>
          </a:xfrm>
        </p:spPr>
        <p:txBody>
          <a:bodyPr>
            <a:noAutofit/>
          </a:bodyPr>
          <a:lstStyle/>
          <a:p>
            <a:pPr algn="ctr"/>
            <a:r>
              <a:rPr lang="ar-sa" sz="16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يحللون البيانات ويستخلصون الأنماط لاتخاذ قرارات مدروسة في عالم مليء بالبيانات.</a:t>
            </a:r>
          </a:p>
        </p:txBody>
      </p:sp>
      <p:sp>
        <p:nvSpPr>
          <p:cNvPr id="20" name="Title 7">
            <a:extLst>
              <a:ext uri="{FF2B5EF4-FFF2-40B4-BE49-F238E27FC236}">
                <a16:creationId xmlns:a16="http://schemas.microsoft.com/office/drawing/2014/main" id="{F666B2A1-3108-9531-01C7-87AB0E3D91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048" y="274638"/>
            <a:ext cx="8570671" cy="274637"/>
          </a:xfrm>
        </p:spPr>
        <p:txBody>
          <a:bodyPr/>
          <a:lstStyle/>
          <a:p>
            <a:pPr algn="ctr"/>
            <a:r>
              <a:rPr lang="ar-sa" sz="3200">
                <a:latin typeface="Sakkal Majalla" panose="02000000000000000000" pitchFamily="2" charset="-78"/>
                <a:cs typeface="Sakkal Majalla" panose="02000000000000000000" pitchFamily="2" charset="-78"/>
              </a:rPr>
              <a:t>القادة والمبدعون وخبراء البيانات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F1AE36C6-5CDF-0E39-BE88-D16C87114D4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57338" y="777445"/>
            <a:ext cx="8429323" cy="175113"/>
          </a:xfrm>
        </p:spPr>
        <p:txBody>
          <a:bodyPr/>
          <a:lstStyle/>
          <a:p>
            <a:pPr algn="ctr"/>
            <a:r>
              <a:rPr lang="ar-sa" sz="16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يحوّلون الاختراعات إلى واقع يُستخدم ويُحدث فرق</a:t>
            </a:r>
            <a:r>
              <a:rPr lang="ar-SA" sz="16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ً</a:t>
            </a:r>
            <a:r>
              <a:rPr lang="ar-sa" sz="16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.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003C6DC-DE19-7FF9-D64D-79631B84DB75}"/>
              </a:ext>
            </a:extLst>
          </p:cNvPr>
          <p:cNvCxnSpPr>
            <a:cxnSpLocks/>
          </p:cNvCxnSpPr>
          <p:nvPr/>
        </p:nvCxnSpPr>
        <p:spPr>
          <a:xfrm>
            <a:off x="423378" y="3291840"/>
            <a:ext cx="2492542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90FB7E9-AE0C-97FA-A621-0E16AB4F0B76}"/>
              </a:ext>
            </a:extLst>
          </p:cNvPr>
          <p:cNvCxnSpPr>
            <a:cxnSpLocks/>
          </p:cNvCxnSpPr>
          <p:nvPr/>
        </p:nvCxnSpPr>
        <p:spPr>
          <a:xfrm>
            <a:off x="3266440" y="3291840"/>
            <a:ext cx="258572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B10DD70-A3EE-D7B1-6DAB-E4353C4D034F}"/>
              </a:ext>
            </a:extLst>
          </p:cNvPr>
          <p:cNvCxnSpPr>
            <a:cxnSpLocks/>
          </p:cNvCxnSpPr>
          <p:nvPr/>
        </p:nvCxnSpPr>
        <p:spPr>
          <a:xfrm>
            <a:off x="6212840" y="3291840"/>
            <a:ext cx="257382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211C4BD0-1F26-2980-BE2C-4866E6C4FECF}"/>
              </a:ext>
            </a:extLst>
          </p:cNvPr>
          <p:cNvSpPr/>
          <p:nvPr/>
        </p:nvSpPr>
        <p:spPr>
          <a:xfrm>
            <a:off x="0" y="0"/>
            <a:ext cx="1747520" cy="228987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</a:schemeClr>
              </a:gs>
              <a:gs pos="23000">
                <a:schemeClr val="accent6">
                  <a:lumMod val="89000"/>
                </a:schemeClr>
              </a:gs>
              <a:gs pos="69000">
                <a:schemeClr val="accent6">
                  <a:lumMod val="75000"/>
                </a:schemeClr>
              </a:gs>
              <a:gs pos="97000">
                <a:schemeClr val="accent6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OM" sz="11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تطبيق العملي</a:t>
            </a:r>
            <a:endParaRPr lang="ar-sa" sz="1100" b="1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681513-A021-4D2E-AA93-1EF8B3E0D92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D669C252-E44E-D170-E858-58F16304BD6C}"/>
              </a:ext>
            </a:extLst>
          </p:cNvPr>
          <p:cNvSpPr/>
          <p:nvPr/>
        </p:nvSpPr>
        <p:spPr>
          <a:xfrm>
            <a:off x="7415393" y="1302352"/>
            <a:ext cx="365700" cy="27071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Poppins"/>
              </a:rPr>
              <a:t>3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1CC758D9-1BBF-6DE6-37B0-3DFD1982E515}"/>
              </a:ext>
            </a:extLst>
          </p:cNvPr>
          <p:cNvSpPr/>
          <p:nvPr/>
        </p:nvSpPr>
        <p:spPr>
          <a:xfrm>
            <a:off x="4376450" y="1282656"/>
            <a:ext cx="365700" cy="27071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Poppins"/>
              </a:rPr>
              <a:t>4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A9C92AF2-F2D2-2676-8D36-257F77ED7280}"/>
              </a:ext>
            </a:extLst>
          </p:cNvPr>
          <p:cNvSpPr/>
          <p:nvPr/>
        </p:nvSpPr>
        <p:spPr>
          <a:xfrm>
            <a:off x="1486799" y="1323982"/>
            <a:ext cx="365700" cy="27071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Poppins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40848999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588D7330-C0A2-F19F-5BA7-2D083367D7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338" y="441678"/>
            <a:ext cx="7825174" cy="274637"/>
          </a:xfrm>
        </p:spPr>
        <p:txBody>
          <a:bodyPr/>
          <a:lstStyle/>
          <a:p>
            <a:r>
              <a:rPr lang="ar-sa" sz="32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كيف تصبح باحثاً أو مهندساً؟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97FBEB9-F8B7-AF3F-4FE3-E77104CB939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11330" y="1940673"/>
            <a:ext cx="2675331" cy="191433"/>
          </a:xfrm>
        </p:spPr>
        <p:txBody>
          <a:bodyPr/>
          <a:lstStyle/>
          <a:p>
            <a:pPr algn="ctr"/>
            <a:r>
              <a:rPr lang="ar-sa" sz="24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مدرسة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94FF4418-03D9-0C26-AA56-9B1AE5169C1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234334" y="1940673"/>
            <a:ext cx="2675331" cy="191433"/>
          </a:xfrm>
        </p:spPr>
        <p:txBody>
          <a:bodyPr/>
          <a:lstStyle/>
          <a:p>
            <a:pPr algn="ctr"/>
            <a:r>
              <a:rPr lang="ar-sa" sz="24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جامعة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4870460-D1AF-DEDA-E830-89727C557DB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45315" y="1940673"/>
            <a:ext cx="2674952" cy="191433"/>
          </a:xfrm>
        </p:spPr>
        <p:txBody>
          <a:bodyPr/>
          <a:lstStyle/>
          <a:p>
            <a:pPr algn="ctr"/>
            <a:r>
              <a:rPr lang="ar-sa" sz="24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عمل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739DDCA-BF62-8158-71B9-3D297C0692C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111332" y="2273343"/>
            <a:ext cx="2675331" cy="1880940"/>
          </a:xfrm>
        </p:spPr>
        <p:txBody>
          <a:bodyPr>
            <a:norm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ar-sa" sz="1100">
                <a:latin typeface="Sakkal Majalla" panose="02000000000000000000" pitchFamily="2" charset="-78"/>
                <a:cs typeface="Sakkal Majalla" panose="02000000000000000000" pitchFamily="2" charset="-78"/>
              </a:rPr>
              <a:t>التركيز على الرياضيات والفيزياء واللغة الإنجليزية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ar-sa" sz="1100">
                <a:latin typeface="Sakkal Majalla" panose="02000000000000000000" pitchFamily="2" charset="-78"/>
                <a:cs typeface="Sakkal Majalla" panose="02000000000000000000" pitchFamily="2" charset="-78"/>
              </a:rPr>
              <a:t>اختيار مسارك المهني المستقبلي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ar-sa" sz="1100">
                <a:latin typeface="Sakkal Majalla" panose="02000000000000000000" pitchFamily="2" charset="-78"/>
                <a:cs typeface="Sakkal Majalla" panose="02000000000000000000" pitchFamily="2" charset="-78"/>
              </a:rPr>
              <a:t>المشاركة في فعاليات ومسابقات </a:t>
            </a:r>
            <a:r>
              <a:rPr lang="en-us" sz="1100">
                <a:latin typeface="Sakkal Majalla" panose="02000000000000000000" pitchFamily="2" charset="-78"/>
                <a:cs typeface="Sakkal Majalla" panose="02000000000000000000" pitchFamily="2" charset="-78"/>
              </a:rPr>
              <a:t>STEM</a:t>
            </a:r>
            <a:r>
              <a:rPr lang="ar-sa" sz="1100">
                <a:latin typeface="Sakkal Majalla" panose="02000000000000000000" pitchFamily="2" charset="-78"/>
                <a:cs typeface="Sakkal Majalla" panose="02000000000000000000" pitchFamily="2" charset="-78"/>
              </a:rPr>
              <a:t>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ar-sa" sz="1100">
                <a:latin typeface="Sakkal Majalla" panose="02000000000000000000" pitchFamily="2" charset="-78"/>
                <a:cs typeface="Sakkal Majalla" panose="02000000000000000000" pitchFamily="2" charset="-78"/>
              </a:rPr>
              <a:t>الذكاء الاصطناعي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ar-sa" sz="1100">
                <a:latin typeface="Sakkal Majalla" panose="02000000000000000000" pitchFamily="2" charset="-78"/>
                <a:cs typeface="Sakkal Majalla" panose="02000000000000000000" pitchFamily="2" charset="-78"/>
              </a:rPr>
              <a:t>الروبوتيات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ar-sa" sz="1100">
                <a:latin typeface="Sakkal Majalla" panose="02000000000000000000" pitchFamily="2" charset="-78"/>
                <a:cs typeface="Sakkal Majalla" panose="02000000000000000000" pitchFamily="2" charset="-78"/>
              </a:rPr>
              <a:t>البرمجة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63D7CFAF-EDB8-44FA-4CA1-44EA8B87EE7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234334" y="2273343"/>
            <a:ext cx="2675331" cy="1880940"/>
          </a:xfrm>
        </p:spPr>
        <p:txBody>
          <a:bodyPr>
            <a:norm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ar-sa" sz="1100">
                <a:latin typeface="Sakkal Majalla" panose="02000000000000000000" pitchFamily="2" charset="-78"/>
                <a:cs typeface="Sakkal Majalla" panose="02000000000000000000" pitchFamily="2" charset="-78"/>
              </a:rPr>
              <a:t>ادرس التقنيات المتقدمة التي تثير شغفك (الذكاء الاصطناعي، الكوانتم، الروبوتات، الأمن السيبراني، وغيرها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ar-sa" sz="1100">
                <a:latin typeface="Sakkal Majalla" panose="02000000000000000000" pitchFamily="2" charset="-78"/>
                <a:cs typeface="Sakkal Majalla" panose="02000000000000000000" pitchFamily="2" charset="-78"/>
              </a:rPr>
              <a:t>احضر دروساً في تغيّر المناخ وعلم البيئة والغذاء والزراعة ودراسات الفضاء والرعاية الصحية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ar-sa" sz="1100">
                <a:latin typeface="Sakkal Majalla" panose="02000000000000000000" pitchFamily="2" charset="-78"/>
                <a:cs typeface="Sakkal Majalla" panose="02000000000000000000" pitchFamily="2" charset="-78"/>
              </a:rPr>
              <a:t> اعملوا ضمن فرق وقدّموا أعمالكم! الذكاء العاطفي عنصر أساسي للباحثين والمهندسين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ar-sa" sz="1100">
                <a:latin typeface="Sakkal Majalla" panose="02000000000000000000" pitchFamily="2" charset="-78"/>
                <a:cs typeface="Sakkal Majalla" panose="02000000000000000000" pitchFamily="2" charset="-78"/>
              </a:rPr>
              <a:t>بناء أنظمة من وكلاء الذكاء الاصطناعي.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6F030A28-BBFC-4457-6D07-1697AF8FB54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45315" y="2273343"/>
            <a:ext cx="2675331" cy="1880940"/>
          </a:xfrm>
        </p:spPr>
        <p:txBody>
          <a:bodyPr>
            <a:norm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ar-sa" sz="11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ممارسة ثم الممارسة ثم الممارسة!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ar-sa" sz="11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 ابحث عن فرص تدريبية وشارك في الفعاليات المهنية مع الباحثين والمهندسين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ar-sa" sz="11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تابع مجلس أبحاث التكنولوجيا المتطورة على وسائل التواصل الاجتماعي (@</a:t>
            </a:r>
            <a:r>
              <a:rPr lang="en-us" sz="1100" dirty="0" err="1">
                <a:latin typeface="Sakkal Majalla" panose="02000000000000000000" pitchFamily="2" charset="-78"/>
                <a:cs typeface="Sakkal Majalla" panose="02000000000000000000" pitchFamily="2" charset="-78"/>
              </a:rPr>
              <a:t>atrcuae</a:t>
            </a:r>
            <a:r>
              <a:rPr lang="ar-sa" sz="11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 في إنستغرام).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A004F9E-9F6E-DFA5-0A74-DAAECD5C3B4D}"/>
              </a:ext>
            </a:extLst>
          </p:cNvPr>
          <p:cNvCxnSpPr>
            <a:cxnSpLocks/>
          </p:cNvCxnSpPr>
          <p:nvPr/>
        </p:nvCxnSpPr>
        <p:spPr>
          <a:xfrm flipH="1">
            <a:off x="357338" y="1478280"/>
            <a:ext cx="8429323" cy="0"/>
          </a:xfrm>
          <a:prstGeom prst="straightConnector1">
            <a:avLst/>
          </a:prstGeom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87652334-AD5A-CCE3-3E06-507A657B1261}"/>
              </a:ext>
            </a:extLst>
          </p:cNvPr>
          <p:cNvSpPr/>
          <p:nvPr/>
        </p:nvSpPr>
        <p:spPr>
          <a:xfrm>
            <a:off x="0" y="0"/>
            <a:ext cx="1205829" cy="228987"/>
          </a:xfrm>
          <a:prstGeom prst="rect">
            <a:avLst/>
          </a:prstGeom>
          <a:gradFill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sa" sz="1100" b="1">
                <a:latin typeface="Sakkal Majalla" panose="02000000000000000000" pitchFamily="2" charset="-78"/>
                <a:cs typeface="Sakkal Majalla" panose="02000000000000000000" pitchFamily="2" charset="-78"/>
              </a:rPr>
              <a:t>التكنولوجيا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C6A817-CD18-470A-B368-65C51FC694E1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19066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E2F905-9933-ACCA-F4F4-9C7B919843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6245225E-F8A3-53C4-CA88-89B12618B4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687" y="441678"/>
            <a:ext cx="7825174" cy="274637"/>
          </a:xfrm>
        </p:spPr>
        <p:txBody>
          <a:bodyPr/>
          <a:lstStyle/>
          <a:p>
            <a:r>
              <a:rPr lang="ar-sa" sz="32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رحلتك لتصبح قائداً أو مبدعاً أو خبيراً في البيانات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F62FCD9-6706-9676-0E2A-0809D830574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13778" y="1940673"/>
            <a:ext cx="2675331" cy="191433"/>
          </a:xfrm>
        </p:spPr>
        <p:txBody>
          <a:bodyPr/>
          <a:lstStyle/>
          <a:p>
            <a:pPr algn="ctr"/>
            <a:r>
              <a:rPr lang="ar-sa" sz="24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مدرسة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5E9C8600-F6A9-5651-EFD7-B4A17931E07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234334" y="1940673"/>
            <a:ext cx="2675331" cy="191433"/>
          </a:xfrm>
        </p:spPr>
        <p:txBody>
          <a:bodyPr/>
          <a:lstStyle/>
          <a:p>
            <a:pPr algn="ctr"/>
            <a:r>
              <a:rPr lang="ar-sa" sz="24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جامعة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E49DC5E5-80ED-60D9-59C1-C08A3DB3585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54888" y="1940673"/>
            <a:ext cx="2674952" cy="191433"/>
          </a:xfrm>
        </p:spPr>
        <p:txBody>
          <a:bodyPr/>
          <a:lstStyle/>
          <a:p>
            <a:pPr algn="ctr"/>
            <a:r>
              <a:rPr lang="ar-sa" sz="24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عمل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D77E3FD-14EF-ED9C-9317-8419E9C8CBC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113780" y="2273343"/>
            <a:ext cx="2675331" cy="1880940"/>
          </a:xfrm>
        </p:spPr>
        <p:txBody>
          <a:bodyPr>
            <a:norm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ar-sa" sz="1100">
                <a:latin typeface="Sakkal Majalla" panose="02000000000000000000" pitchFamily="2" charset="-78"/>
                <a:cs typeface="Sakkal Majalla" panose="02000000000000000000" pitchFamily="2" charset="-78"/>
              </a:rPr>
              <a:t>ركّز على الرياضيات واللغة الإنجليزية في المدرسة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ar-sa" sz="1100">
                <a:latin typeface="Sakkal Majalla" panose="02000000000000000000" pitchFamily="2" charset="-78"/>
                <a:cs typeface="Sakkal Majalla" panose="02000000000000000000" pitchFamily="2" charset="-78"/>
              </a:rPr>
              <a:t>اختيار مسارك المهني المستقبلي.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B1A2007F-18F3-5E08-15B5-A5C8151297D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234334" y="2273342"/>
            <a:ext cx="2826106" cy="2527258"/>
          </a:xfrm>
        </p:spPr>
        <p:txBody>
          <a:bodyPr>
            <a:norm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ar-sa" sz="11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تخصص في مجالات مثل: الأعمال، الاقتصاد، الرياضيات والإحصاء، الإعلام، الإدارة، البحث الاجتماعي، الفلسفة، أو القانون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ar-sa" sz="11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ختر مواد فرعية أو دروس</a:t>
            </a:r>
            <a:r>
              <a:rPr lang="ar-SA" sz="11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ً</a:t>
            </a:r>
            <a:r>
              <a:rPr lang="ar-sa" sz="11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 في: تغيّر المناخ، البيئة، الغذاء والزراعة، دراسات الفضاء، الرعاية الصحية، أو التقنيات التي تثير شغفك (الذكاء الاصطناعي، </a:t>
            </a:r>
            <a:r>
              <a:rPr lang="ar-sa" sz="1100" dirty="0" err="1">
                <a:latin typeface="Sakkal Majalla" panose="02000000000000000000" pitchFamily="2" charset="-78"/>
                <a:cs typeface="Sakkal Majalla" panose="02000000000000000000" pitchFamily="2" charset="-78"/>
              </a:rPr>
              <a:t>الكوانتم</a:t>
            </a:r>
            <a:r>
              <a:rPr lang="ar-sa" sz="11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، الروبوتات، الأمن السيبراني، وغيرها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ar-sa" sz="11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عملوا ضمن فرق وقدّموا أعمالكم! الذكاء العاطفي مهم جدا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ar-sa" sz="11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بنِ ملف إنجازاتك: شارك في مسابقات الطلاب، نوادي المناظرات، أندية دراسات الأعمال، والمشاريع العملية.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067BC2E5-DF01-E0DE-1F66-9144A98BC3B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54888" y="2273343"/>
            <a:ext cx="2675331" cy="1880940"/>
          </a:xfrm>
        </p:spPr>
        <p:txBody>
          <a:bodyPr>
            <a:norm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ar-sa" sz="1100">
                <a:latin typeface="Sakkal Majalla" panose="02000000000000000000" pitchFamily="2" charset="-78"/>
                <a:cs typeface="Sakkal Majalla" panose="02000000000000000000" pitchFamily="2" charset="-78"/>
              </a:rPr>
              <a:t>ابحث عن فرص تدريبية وشارك في الفعاليات المهنية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ar-sa" sz="1100">
                <a:latin typeface="Sakkal Majalla" panose="02000000000000000000" pitchFamily="2" charset="-78"/>
                <a:cs typeface="Sakkal Majalla" panose="02000000000000000000" pitchFamily="2" charset="-78"/>
              </a:rPr>
              <a:t> تابع مجلس أبحاث التكنولوجيا المتطورة على وسائل التواصل الاجتماعي (@</a:t>
            </a:r>
            <a:r>
              <a:rPr lang="en-us" sz="1100">
                <a:latin typeface="Sakkal Majalla" panose="02000000000000000000" pitchFamily="2" charset="-78"/>
                <a:cs typeface="Sakkal Majalla" panose="02000000000000000000" pitchFamily="2" charset="-78"/>
              </a:rPr>
              <a:t>atrcuae</a:t>
            </a:r>
            <a:r>
              <a:rPr lang="ar-sa" sz="1100">
                <a:latin typeface="Sakkal Majalla" panose="02000000000000000000" pitchFamily="2" charset="-78"/>
                <a:cs typeface="Sakkal Majalla" panose="02000000000000000000" pitchFamily="2" charset="-78"/>
              </a:rPr>
              <a:t> في إنستغرام).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4B201D2B-0014-3678-3D65-5E093608C7F9}"/>
              </a:ext>
            </a:extLst>
          </p:cNvPr>
          <p:cNvCxnSpPr>
            <a:cxnSpLocks/>
          </p:cNvCxnSpPr>
          <p:nvPr/>
        </p:nvCxnSpPr>
        <p:spPr>
          <a:xfrm flipH="1">
            <a:off x="357338" y="1478280"/>
            <a:ext cx="8429323" cy="0"/>
          </a:xfrm>
          <a:prstGeom prst="straightConnector1">
            <a:avLst/>
          </a:prstGeom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62032482-6CD0-A471-64DD-D23D52AC6BD7}"/>
              </a:ext>
            </a:extLst>
          </p:cNvPr>
          <p:cNvSpPr/>
          <p:nvPr/>
        </p:nvSpPr>
        <p:spPr>
          <a:xfrm>
            <a:off x="0" y="0"/>
            <a:ext cx="1747520" cy="228987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</a:schemeClr>
              </a:gs>
              <a:gs pos="23000">
                <a:schemeClr val="accent6">
                  <a:lumMod val="89000"/>
                </a:schemeClr>
              </a:gs>
              <a:gs pos="69000">
                <a:schemeClr val="accent6">
                  <a:lumMod val="75000"/>
                </a:schemeClr>
              </a:gs>
              <a:gs pos="97000">
                <a:schemeClr val="accent6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OM" sz="11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نطبيق العملي</a:t>
            </a:r>
            <a:endParaRPr lang="ar-sa" sz="1100" b="1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71AAB7-ABDA-4680-891F-F1F14E776659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68801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307CF824-AAAD-D319-5885-EA76EC03EA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927" y="206589"/>
            <a:ext cx="2686109" cy="2678669"/>
          </a:xfrm>
          <a:prstGeom prst="roundRect">
            <a:avLst>
              <a:gd name="adj" fmla="val 5857"/>
            </a:avLst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E0917DF-AD67-3C10-1D11-70EDEDA4AD1B}"/>
              </a:ext>
            </a:extLst>
          </p:cNvPr>
          <p:cNvSpPr txBox="1"/>
          <p:nvPr/>
        </p:nvSpPr>
        <p:spPr>
          <a:xfrm>
            <a:off x="-23381" y="2885258"/>
            <a:ext cx="282241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2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orms.office.com/r/xveZ7mtT2i</a:t>
            </a:r>
            <a:endParaRPr lang="en-US" sz="1200" dirty="0">
              <a:solidFill>
                <a:schemeClr val="bg2"/>
              </a:solidFill>
            </a:endParaRPr>
          </a:p>
          <a:p>
            <a:r>
              <a:rPr lang="en-US" sz="1200" dirty="0">
                <a:solidFill>
                  <a:schemeClr val="bg2"/>
                </a:solidFill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B01E665-DF7D-E36E-1F1F-3FB4A6E3FDCB}"/>
              </a:ext>
            </a:extLst>
          </p:cNvPr>
          <p:cNvSpPr txBox="1"/>
          <p:nvPr/>
        </p:nvSpPr>
        <p:spPr>
          <a:xfrm>
            <a:off x="2893423" y="197741"/>
            <a:ext cx="5614048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r-OM" sz="2000" b="1" dirty="0">
                <a:solidFill>
                  <a:schemeClr val="bg2"/>
                </a:solidFill>
              </a:rPr>
              <a:t>ما هو مسارك المهني المستقبلي؟</a:t>
            </a:r>
            <a:endParaRPr lang="en-US" sz="2000" b="1" dirty="0">
              <a:solidFill>
                <a:schemeClr val="bg2"/>
              </a:solidFill>
            </a:endParaRPr>
          </a:p>
          <a:p>
            <a:endParaRPr lang="ar-OM" sz="1600" b="1" dirty="0">
              <a:solidFill>
                <a:schemeClr val="bg2"/>
              </a:solidFill>
            </a:endParaRPr>
          </a:p>
          <a:p>
            <a:r>
              <a:rPr lang="ar-OM" sz="1600" b="1" dirty="0">
                <a:solidFill>
                  <a:schemeClr val="bg2"/>
                </a:solidFill>
              </a:rPr>
              <a:t>امسحوا الرمز و شاركونا نتائجكم فرأيكم يهمنا في مجلس الأبحاث المتطورة</a:t>
            </a:r>
            <a:endParaRPr lang="en-US" sz="1600" b="1" dirty="0">
              <a:solidFill>
                <a:schemeClr val="bg2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1865023-55F8-2233-5D61-F5807C82CD0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80328" y="1565152"/>
            <a:ext cx="2950745" cy="1652482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4442A66-B2CC-FDCE-7958-2FDF49A9151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63673" y="1565152"/>
            <a:ext cx="2836408" cy="1652482"/>
          </a:xfrm>
          <a:prstGeom prst="rect">
            <a:avLst/>
          </a:prstGeom>
          <a:ln w="3175">
            <a:solidFill>
              <a:schemeClr val="bg2"/>
            </a:solidFill>
          </a:ln>
        </p:spPr>
      </p:pic>
    </p:spTree>
    <p:extLst>
      <p:ext uri="{BB962C8B-B14F-4D97-AF65-F5344CB8AC3E}">
        <p14:creationId xmlns:p14="http://schemas.microsoft.com/office/powerpoint/2010/main" val="381887396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5FCC59-2F22-3AEF-3E6D-38BB7EFA06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157C21C-0A53-50B5-B1BD-6CFBDF4CE89E}"/>
              </a:ext>
            </a:extLst>
          </p:cNvPr>
          <p:cNvSpPr/>
          <p:nvPr/>
        </p:nvSpPr>
        <p:spPr>
          <a:xfrm>
            <a:off x="315247" y="2637490"/>
            <a:ext cx="2834875" cy="307777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rtlCol="0">
            <a:spAutoFit/>
          </a:bodyPr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F887CDC-27A4-0917-7F6C-ED6B75BC1BCE}"/>
              </a:ext>
            </a:extLst>
          </p:cNvPr>
          <p:cNvSpPr/>
          <p:nvPr/>
        </p:nvSpPr>
        <p:spPr>
          <a:xfrm>
            <a:off x="1967936" y="3962201"/>
            <a:ext cx="1184034" cy="307777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rtlCol="0">
            <a:spAutoFit/>
          </a:bodyPr>
          <a:lstStyle/>
          <a:p>
            <a:pPr algn="ctr"/>
            <a:endParaRPr lang="en-US" sz="1400" b="1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3E475BE-0210-425F-5B1C-2CBA4692EE13}"/>
              </a:ext>
            </a:extLst>
          </p:cNvPr>
          <p:cNvSpPr/>
          <p:nvPr/>
        </p:nvSpPr>
        <p:spPr>
          <a:xfrm>
            <a:off x="6574467" y="3790280"/>
            <a:ext cx="2096085" cy="307777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rtlCol="0">
            <a:spAutoFit/>
          </a:bodyPr>
          <a:lstStyle/>
          <a:p>
            <a:pPr algn="ctr"/>
            <a:endParaRPr lang="en-US" sz="1400" b="1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B8933A7-FB22-FFDD-644B-985FA4DEC9E9}"/>
              </a:ext>
            </a:extLst>
          </p:cNvPr>
          <p:cNvSpPr txBox="1"/>
          <p:nvPr/>
        </p:nvSpPr>
        <p:spPr>
          <a:xfrm>
            <a:off x="731520" y="3285093"/>
            <a:ext cx="2418602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r-OM" sz="2000" b="1" dirty="0">
                <a:solidFill>
                  <a:schemeClr val="bg1"/>
                </a:solidFill>
              </a:rPr>
              <a:t>تباعونا على صفحاتنا في الانستجرام و لنكدان</a:t>
            </a:r>
            <a:endParaRPr lang="en-US" sz="2000" b="1" dirty="0">
              <a:solidFill>
                <a:schemeClr val="bg1"/>
              </a:solidFill>
            </a:endParaRPr>
          </a:p>
          <a:p>
            <a:r>
              <a:rPr lang="en-US" sz="1800" b="1" dirty="0">
                <a:solidFill>
                  <a:schemeClr val="bg1"/>
                </a:solidFill>
              </a:rPr>
              <a:t>@atrcua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BD63DB7-E63A-2FBB-AD18-14A4FD12625F}"/>
              </a:ext>
            </a:extLst>
          </p:cNvPr>
          <p:cNvGrpSpPr/>
          <p:nvPr/>
        </p:nvGrpSpPr>
        <p:grpSpPr>
          <a:xfrm>
            <a:off x="3248101" y="1301714"/>
            <a:ext cx="933398" cy="880213"/>
            <a:chOff x="1954582" y="2873586"/>
            <a:chExt cx="933398" cy="880213"/>
          </a:xfrm>
        </p:grpSpPr>
        <p:sp>
          <p:nvSpPr>
            <p:cNvPr id="10" name="Flowchart: Alternate Process 9">
              <a:extLst>
                <a:ext uri="{FF2B5EF4-FFF2-40B4-BE49-F238E27FC236}">
                  <a16:creationId xmlns:a16="http://schemas.microsoft.com/office/drawing/2014/main" id="{2CC61747-A4F3-E1BD-9E71-0A507A48D408}"/>
                </a:ext>
              </a:extLst>
            </p:cNvPr>
            <p:cNvSpPr/>
            <p:nvPr/>
          </p:nvSpPr>
          <p:spPr>
            <a:xfrm>
              <a:off x="1954582" y="2873586"/>
              <a:ext cx="933398" cy="880213"/>
            </a:xfrm>
            <a:prstGeom prst="flowChartAlternateProcess">
              <a:avLst/>
            </a:prstGeom>
            <a:solidFill>
              <a:schemeClr val="bg2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38AFB24-3FF6-582A-A66D-AC1AC3B9D3C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17161" y="3019105"/>
              <a:ext cx="626039" cy="590393"/>
            </a:xfrm>
            <a:prstGeom prst="rect">
              <a:avLst/>
            </a:prstGeom>
          </p:spPr>
        </p:pic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DFEE94E2-9F96-693F-1829-30C1C334E3D6}"/>
              </a:ext>
            </a:extLst>
          </p:cNvPr>
          <p:cNvSpPr txBox="1"/>
          <p:nvPr/>
        </p:nvSpPr>
        <p:spPr>
          <a:xfrm>
            <a:off x="315247" y="2569372"/>
            <a:ext cx="283487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atrc.gov.ae/ffcp/</a:t>
            </a:r>
            <a:endParaRPr lang="en-US" sz="18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5378F25-0EC1-E567-24BD-B8CBF5BA373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92413" y="1316032"/>
            <a:ext cx="1755783" cy="947881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FD58BBB-6D5C-873E-1856-06FCCFC813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41112" y="2197498"/>
            <a:ext cx="1507084" cy="412913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61A149C-80E3-E2FD-631E-CF7DB8EDFF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49316" y="1316032"/>
            <a:ext cx="1120305" cy="1592782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60FB26C-946C-62E1-7ED1-4AF52C11975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32292" y="1316032"/>
            <a:ext cx="1194232" cy="1638877"/>
          </a:xfrm>
          <a:prstGeom prst="rect">
            <a:avLst/>
          </a:prstGeom>
        </p:spPr>
      </p:pic>
      <p:sp>
        <p:nvSpPr>
          <p:cNvPr id="15" name="Title 14">
            <a:extLst>
              <a:ext uri="{FF2B5EF4-FFF2-40B4-BE49-F238E27FC236}">
                <a16:creationId xmlns:a16="http://schemas.microsoft.com/office/drawing/2014/main" id="{7EF0746C-6938-5ACE-BA31-5F154C0045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r-OM" sz="2800" dirty="0"/>
              <a:t>تعرف أكثر و تواصل معنا!</a:t>
            </a:r>
            <a:endParaRPr lang="en-US" sz="28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282455A-8FF5-0106-E06A-A0DC964DB3B4}"/>
              </a:ext>
            </a:extLst>
          </p:cNvPr>
          <p:cNvSpPr txBox="1"/>
          <p:nvPr/>
        </p:nvSpPr>
        <p:spPr>
          <a:xfrm>
            <a:off x="0" y="1151793"/>
            <a:ext cx="318670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r-OM" sz="2400" b="1" dirty="0">
                <a:solidFill>
                  <a:schemeClr val="bg2"/>
                </a:solidFill>
              </a:rPr>
              <a:t>موقعنا الرسمي للتعرف أكثر على المهن المستقبلية مع نظرة على عمل باحثينا اليومي</a:t>
            </a:r>
            <a:endParaRPr lang="en-US" sz="2400" b="1" dirty="0">
              <a:solidFill>
                <a:schemeClr val="bg2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EA3A4FF-AD8B-C6A6-8E0F-CF9E0B055847}"/>
              </a:ext>
            </a:extLst>
          </p:cNvPr>
          <p:cNvSpPr txBox="1"/>
          <p:nvPr/>
        </p:nvSpPr>
        <p:spPr>
          <a:xfrm>
            <a:off x="4098552" y="3108248"/>
            <a:ext cx="4572000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800" b="1" dirty="0">
              <a:solidFill>
                <a:schemeClr val="bg1"/>
              </a:solidFill>
            </a:endParaRPr>
          </a:p>
          <a:p>
            <a:r>
              <a:rPr lang="ar-OM" sz="2000" b="1" dirty="0">
                <a:solidFill>
                  <a:schemeClr val="bg1"/>
                </a:solidFill>
              </a:rPr>
              <a:t>موقع مجلس الابحاث المتطورة</a:t>
            </a:r>
            <a:endParaRPr lang="en-US" sz="1800" b="1" dirty="0">
              <a:solidFill>
                <a:schemeClr val="bg1"/>
              </a:solidFill>
            </a:endParaRPr>
          </a:p>
          <a:p>
            <a:r>
              <a:rPr lang="en-US" sz="2000" b="1" dirty="0">
                <a:solidFill>
                  <a:schemeClr val="bg1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atrc.gov.ae</a:t>
            </a:r>
            <a:endParaRPr lang="en-US" sz="1800" b="1" dirty="0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4A0C1FB-6A39-B67B-B16C-CF031BD88B46}"/>
              </a:ext>
            </a:extLst>
          </p:cNvPr>
          <p:cNvSpPr/>
          <p:nvPr/>
        </p:nvSpPr>
        <p:spPr>
          <a:xfrm>
            <a:off x="4429244" y="2775992"/>
            <a:ext cx="1097280" cy="23303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OM" b="1" dirty="0"/>
              <a:t>اختبار المهن المستقبلية</a:t>
            </a:r>
            <a:endParaRPr lang="en-US" b="1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509E52D-B3A4-7ACA-22F9-11B56FBE14D3}"/>
              </a:ext>
            </a:extLst>
          </p:cNvPr>
          <p:cNvSpPr/>
          <p:nvPr/>
        </p:nvSpPr>
        <p:spPr>
          <a:xfrm>
            <a:off x="5733737" y="2775992"/>
            <a:ext cx="1097280" cy="23303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OM" b="1" dirty="0"/>
              <a:t>دليل المهن المستقبلية</a:t>
            </a:r>
            <a:endParaRPr lang="en-US" b="1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E3E8B3F-8104-97AF-F12D-AD5236B72455}"/>
              </a:ext>
            </a:extLst>
          </p:cNvPr>
          <p:cNvSpPr/>
          <p:nvPr/>
        </p:nvSpPr>
        <p:spPr>
          <a:xfrm>
            <a:off x="7038230" y="2667562"/>
            <a:ext cx="1632322" cy="33205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OM" b="1" dirty="0"/>
              <a:t>لقائات مع الباحثين و المهندسين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16380065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8DF2AA5-C156-7FEA-BDB2-A3199666B6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8077" y="2367848"/>
            <a:ext cx="7498484" cy="914400"/>
          </a:xfrm>
        </p:spPr>
        <p:txBody>
          <a:bodyPr/>
          <a:lstStyle/>
          <a:p>
            <a:r>
              <a:rPr lang="ar-sa" sz="54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شكراً لكم!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E2AB1D5-3A06-77EE-1630-500FB7E6876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0" y="3838006"/>
            <a:ext cx="3598436" cy="211240"/>
          </a:xfrm>
        </p:spPr>
        <p:txBody>
          <a:bodyPr/>
          <a:lstStyle/>
          <a:p>
            <a:r>
              <a:rPr lang="ar-OM" sz="16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فريق </a:t>
            </a:r>
            <a:r>
              <a:rPr lang="ar-sa" sz="16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مجلس أبحاث التكنولوجيا المتطورة</a:t>
            </a:r>
          </a:p>
          <a:p>
            <a:endParaRPr lang="en-US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5" name="BJPseudoFooter">
            <a:extLst>
              <a:ext uri="{FF2B5EF4-FFF2-40B4-BE49-F238E27FC236}">
                <a16:creationId xmlns:a16="http://schemas.microsoft.com/office/drawing/2014/main" id="{4F7AA8E5-8983-480A-9A4E-1A46CA44BA3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465240" y="4925107"/>
            <a:ext cx="213520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/>
            <a:r>
              <a:rPr lang="en-US" sz="800" b="1" dirty="0">
                <a:solidFill>
                  <a:srgbClr val="4472C4"/>
                </a:solidFill>
              </a:rPr>
              <a:t> </a:t>
            </a:r>
            <a:endParaRPr lang="en-AE" sz="800" b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02646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60F422F1-090E-99F4-76A7-D0251CBE5E1B}"/>
              </a:ext>
            </a:extLst>
          </p:cNvPr>
          <p:cNvSpPr txBox="1"/>
          <p:nvPr/>
        </p:nvSpPr>
        <p:spPr>
          <a:xfrm>
            <a:off x="3962832" y="517853"/>
            <a:ext cx="4633913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r-OM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للمستشارين المهنيين</a:t>
            </a:r>
          </a:p>
          <a:p>
            <a:endParaRPr lang="en-US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ar-OM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من فضلكم أملأوا الاستمارة للمشاركة في مبادرة المسارات المهنية المستقبلية و شاركونا مراجعتكم و اقتراحاتكم</a:t>
            </a:r>
            <a:endParaRPr lang="en-US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F3B90F4-D287-82F9-AEB7-43A5E6185A1F}"/>
              </a:ext>
            </a:extLst>
          </p:cNvPr>
          <p:cNvSpPr txBox="1"/>
          <p:nvPr/>
        </p:nvSpPr>
        <p:spPr>
          <a:xfrm>
            <a:off x="4038427" y="3171314"/>
            <a:ext cx="448272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r-OM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مشاركتكم في هذه المبادرة مقدرة بشكل عظيم </a:t>
            </a:r>
          </a:p>
          <a:p>
            <a:r>
              <a:rPr lang="ar-OM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شاكرين لكم حسن جهودكم و تفانيكم</a:t>
            </a:r>
            <a:endParaRPr lang="en-US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Graphic 4" descr="Rocket outline">
            <a:extLst>
              <a:ext uri="{FF2B5EF4-FFF2-40B4-BE49-F238E27FC236}">
                <a16:creationId xmlns:a16="http://schemas.microsoft.com/office/drawing/2014/main" id="{88FB7149-7D9F-68E0-A5F6-661B8FF005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67145" y="3051871"/>
            <a:ext cx="823663" cy="82366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E652643-549B-23E7-2428-FC6B1FACA8E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1109" y="517853"/>
            <a:ext cx="2810661" cy="2826406"/>
          </a:xfrm>
          <a:prstGeom prst="roundRect">
            <a:avLst>
              <a:gd name="adj" fmla="val 3925"/>
            </a:avLst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C500861-9039-AAEB-3763-CAE6758BF7DD}"/>
              </a:ext>
            </a:extLst>
          </p:cNvPr>
          <p:cNvSpPr txBox="1"/>
          <p:nvPr/>
        </p:nvSpPr>
        <p:spPr>
          <a:xfrm>
            <a:off x="-411832" y="3586813"/>
            <a:ext cx="45720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900" b="1" dirty="0">
                <a:solidFill>
                  <a:schemeClr val="bg2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orms.office.com/r/6KJg4uGLVw</a:t>
            </a:r>
            <a:r>
              <a:rPr lang="en-US" sz="900" b="1" dirty="0">
                <a:solidFill>
                  <a:schemeClr val="bg2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2668058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1FED319-B156-CFAF-3CAA-F0A5954157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FED319-B156-CFAF-3CAA-F0A5954157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22">
            <a:extLst>
              <a:ext uri="{FF2B5EF4-FFF2-40B4-BE49-F238E27FC236}">
                <a16:creationId xmlns:a16="http://schemas.microsoft.com/office/drawing/2014/main" id="{D840CBF4-8C22-ABDC-B996-4C39FD8B9F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345" y="237668"/>
            <a:ext cx="7825174" cy="274637"/>
          </a:xfrm>
        </p:spPr>
        <p:txBody>
          <a:bodyPr vert="horz"/>
          <a:lstStyle/>
          <a:p>
            <a:pPr algn="r" rtl="1"/>
            <a:r>
              <a:rPr lang="ar-OM" sz="2000" dirty="0"/>
              <a:t>حقائق عن مجلس أبحاث التكنولوجيا المتقدمة</a:t>
            </a:r>
            <a:endParaRPr lang="en-GB" sz="2000" dirty="0"/>
          </a:p>
        </p:txBody>
      </p:sp>
      <p:sp>
        <p:nvSpPr>
          <p:cNvPr id="17" name="object 6">
            <a:extLst>
              <a:ext uri="{FF2B5EF4-FFF2-40B4-BE49-F238E27FC236}">
                <a16:creationId xmlns:a16="http://schemas.microsoft.com/office/drawing/2014/main" id="{01A3D0BF-619F-CE62-76EA-FDA3B7E3A79F}"/>
              </a:ext>
            </a:extLst>
          </p:cNvPr>
          <p:cNvSpPr txBox="1"/>
          <p:nvPr/>
        </p:nvSpPr>
        <p:spPr>
          <a:xfrm>
            <a:off x="894978" y="1415466"/>
            <a:ext cx="970904" cy="320601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700" marR="0" lvl="0" indent="0" algn="l" defTabSz="914378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6400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400+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0DD38B76-9D60-576A-3D83-8EAFEDC6F94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9697" y="1523790"/>
            <a:ext cx="436166" cy="303994"/>
          </a:xfrm>
          <a:prstGeom prst="rect">
            <a:avLst/>
          </a:prstGeom>
        </p:spPr>
      </p:pic>
      <p:sp>
        <p:nvSpPr>
          <p:cNvPr id="26" name="object 8">
            <a:extLst>
              <a:ext uri="{FF2B5EF4-FFF2-40B4-BE49-F238E27FC236}">
                <a16:creationId xmlns:a16="http://schemas.microsoft.com/office/drawing/2014/main" id="{B950975D-69AD-0840-0753-F86C2BBF58C7}"/>
              </a:ext>
            </a:extLst>
          </p:cNvPr>
          <p:cNvSpPr txBox="1"/>
          <p:nvPr/>
        </p:nvSpPr>
        <p:spPr>
          <a:xfrm>
            <a:off x="1142975" y="2282878"/>
            <a:ext cx="756629" cy="515526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700" marR="0" lvl="0" indent="0" algn="l" defTabSz="914378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6400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90</a:t>
            </a:r>
            <a:endParaRPr kumimoji="0" sz="2000" b="1" i="0" u="none" strike="noStrike" kern="1200" cap="none" spc="0" normalizeH="0" baseline="0" noProof="0" dirty="0">
              <a:ln>
                <a:noFill/>
              </a:ln>
              <a:solidFill>
                <a:srgbClr val="6400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2700" marR="5080" lvl="0" indent="0" algn="l" defTabSz="914378" rtl="0" eaLnBrk="1" fontAlgn="auto" latinLnBrk="0" hangingPunct="1">
              <a:lnSpc>
                <a:spcPct val="100000"/>
              </a:lnSpc>
              <a:spcBef>
                <a:spcPts val="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OM" sz="1100" b="1" i="0" u="none" strike="noStrike" kern="1200" cap="none" spc="0" normalizeH="0" baseline="0" noProof="0" dirty="0">
                <a:ln>
                  <a:noFill/>
                </a:ln>
                <a:solidFill>
                  <a:srgbClr val="25374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جنسية</a:t>
            </a:r>
            <a:endParaRPr kumimoji="0" sz="1050" b="1" i="0" u="none" strike="noStrike" kern="1200" cap="none" spc="0" normalizeH="0" baseline="0" noProof="0" dirty="0">
              <a:ln>
                <a:noFill/>
              </a:ln>
              <a:solidFill>
                <a:srgbClr val="253746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E10FCE7-B4C4-A584-6242-5B6BBE9B320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9697" y="2359959"/>
            <a:ext cx="646706" cy="38077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83BA348-1D69-53E8-3DB9-D8A243B0E415}"/>
              </a:ext>
            </a:extLst>
          </p:cNvPr>
          <p:cNvSpPr txBox="1"/>
          <p:nvPr/>
        </p:nvSpPr>
        <p:spPr>
          <a:xfrm>
            <a:off x="798843" y="1684651"/>
            <a:ext cx="172050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 lvl="0" indent="0" algn="l" defTabSz="91437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OM" sz="1100" b="1" i="0" u="none" strike="noStrike" kern="1200" cap="none" spc="0" normalizeH="0" baseline="0" noProof="0" dirty="0">
                <a:ln>
                  <a:noFill/>
                </a:ln>
                <a:solidFill>
                  <a:srgbClr val="25374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باحثين و مهندسين و مدراء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253746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CCC887CF-E713-FD3F-0D60-4130C006A501}"/>
              </a:ext>
            </a:extLst>
          </p:cNvPr>
          <p:cNvSpPr>
            <a:spLocks noGrp="1"/>
          </p:cNvSpPr>
          <p:nvPr/>
        </p:nvSpPr>
        <p:spPr>
          <a:xfrm>
            <a:off x="349250" y="4804494"/>
            <a:ext cx="6237837" cy="135480"/>
          </a:xfrm>
          <a:prstGeom prst="rect">
            <a:avLst/>
          </a:prstGeom>
        </p:spPr>
        <p:txBody>
          <a:bodyPr lIns="0"/>
          <a:lstStyle>
            <a:defPPr>
              <a:defRPr lang="en-AE"/>
            </a:defPPr>
            <a:lvl1pPr marL="0" algn="l" defTabSz="415869" rtl="0" eaLnBrk="1" latinLnBrk="0" hangingPunct="1">
              <a:defRPr sz="8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935" algn="l" defTabSz="415869" rtl="0" eaLnBrk="1" latinLnBrk="0" hangingPunct="1">
              <a:defRPr sz="8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5869" algn="l" defTabSz="415869" rtl="0" eaLnBrk="1" latinLnBrk="0" hangingPunct="1">
              <a:defRPr sz="8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3804" algn="l" defTabSz="415869" rtl="0" eaLnBrk="1" latinLnBrk="0" hangingPunct="1">
              <a:defRPr sz="8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31738" algn="l" defTabSz="415869" rtl="0" eaLnBrk="1" latinLnBrk="0" hangingPunct="1">
              <a:defRPr sz="8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39673" algn="l" defTabSz="415869" rtl="0" eaLnBrk="1" latinLnBrk="0" hangingPunct="1">
              <a:defRPr sz="8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47607" algn="l" defTabSz="415869" rtl="0" eaLnBrk="1" latinLnBrk="0" hangingPunct="1">
              <a:defRPr sz="8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5542" algn="l" defTabSz="415869" rtl="0" eaLnBrk="1" latinLnBrk="0" hangingPunct="1">
              <a:defRPr sz="8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63476" algn="l" defTabSz="415869" rtl="0" eaLnBrk="1" latinLnBrk="0" hangingPunct="1">
              <a:defRPr sz="8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15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0" b="0" i="0" u="none" strike="noStrike" kern="1200" cap="none" spc="0" normalizeH="0" baseline="0" noProof="0" dirty="0">
                <a:ln>
                  <a:noFill/>
                </a:ln>
                <a:solidFill>
                  <a:srgbClr val="1D374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dvanced Technology Research Council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2537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BF13918-7C85-0049-A761-590C52583F0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86" t="5757" r="27000" b="8753"/>
          <a:stretch>
            <a:fillRect/>
          </a:stretch>
        </p:blipFill>
        <p:spPr>
          <a:xfrm>
            <a:off x="2408936" y="1434253"/>
            <a:ext cx="1841455" cy="1229094"/>
          </a:xfrm>
          <a:prstGeom prst="rect">
            <a:avLst/>
          </a:prstGeom>
        </p:spPr>
      </p:pic>
      <p:pic>
        <p:nvPicPr>
          <p:cNvPr id="1026" name="Picture 2" descr="Technology Innovation Institute in Abu Dhabi Recruiting at All Levels |  IEEE Information Theory Society">
            <a:extLst>
              <a:ext uri="{FF2B5EF4-FFF2-40B4-BE49-F238E27FC236}">
                <a16:creationId xmlns:a16="http://schemas.microsoft.com/office/drawing/2014/main" id="{4EFC4A41-DC5A-EE1A-A509-E49AFE17B5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9636" y="3174773"/>
            <a:ext cx="1748321" cy="1165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A8E78096-0AC6-3DF7-A112-94792371DF80}"/>
              </a:ext>
            </a:extLst>
          </p:cNvPr>
          <p:cNvSpPr/>
          <p:nvPr/>
        </p:nvSpPr>
        <p:spPr>
          <a:xfrm>
            <a:off x="2408936" y="1357381"/>
            <a:ext cx="1841456" cy="2001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4158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OM" sz="81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المقر الرئيسي لمجلس أ</a:t>
            </a:r>
            <a:r>
              <a:rPr lang="ar-OM" b="1" dirty="0">
                <a:solidFill>
                  <a:prstClr val="white"/>
                </a:solidFill>
                <a:latin typeface="Arial" panose="020B0604020202020204"/>
              </a:rPr>
              <a:t>بحاث التكنولجيا المتقدمة</a:t>
            </a:r>
            <a:endParaRPr kumimoji="0" lang="en-US" sz="819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EBF4F9A-A61B-E54F-059B-CD61615573DB}"/>
              </a:ext>
            </a:extLst>
          </p:cNvPr>
          <p:cNvSpPr/>
          <p:nvPr/>
        </p:nvSpPr>
        <p:spPr>
          <a:xfrm>
            <a:off x="1598410" y="3040463"/>
            <a:ext cx="1629548" cy="21409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15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OM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معهد الابتكار و التكنولوجيا -</a:t>
            </a:r>
            <a:r>
              <a:rPr kumimoji="0" lang="ar-OM" sz="900" b="1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مصدر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E495E32-572C-DF0D-8817-66705A2E4FF5}"/>
              </a:ext>
            </a:extLst>
          </p:cNvPr>
          <p:cNvSpPr txBox="1"/>
          <p:nvPr/>
        </p:nvSpPr>
        <p:spPr>
          <a:xfrm>
            <a:off x="3573894" y="4349452"/>
            <a:ext cx="50687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15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OM" sz="819" b="1" i="0" u="none" strike="noStrike" kern="1200" cap="none" spc="0" normalizeH="0" baseline="0" noProof="0" dirty="0">
                <a:ln>
                  <a:noFill/>
                </a:ln>
                <a:solidFill>
                  <a:srgbClr val="64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و </a:t>
            </a:r>
            <a:r>
              <a:rPr kumimoji="0" lang="ar-OM" sz="1000" b="1" i="0" u="none" strike="noStrike" kern="1200" cap="none" spc="0" normalizeH="0" baseline="0" noProof="0" dirty="0">
                <a:ln>
                  <a:noFill/>
                </a:ln>
                <a:solidFill>
                  <a:srgbClr val="64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المزيد</a:t>
            </a:r>
            <a:endParaRPr kumimoji="0" lang="en-US" sz="819" b="1" i="0" u="none" strike="noStrike" kern="1200" cap="none" spc="0" normalizeH="0" baseline="0" noProof="0" dirty="0">
              <a:ln>
                <a:noFill/>
              </a:ln>
              <a:solidFill>
                <a:srgbClr val="64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C0220FF-F19C-9625-778E-AC10C704D41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92906" y="3126806"/>
            <a:ext cx="807409" cy="441258"/>
          </a:xfrm>
          <a:prstGeom prst="rect">
            <a:avLst/>
          </a:prstGeom>
        </p:spPr>
      </p:pic>
      <p:pic>
        <p:nvPicPr>
          <p:cNvPr id="37" name="Picture 36" descr="A aerial view of a forest&#10;&#10;AI-generated content may be incorrect.">
            <a:extLst>
              <a:ext uri="{FF2B5EF4-FFF2-40B4-BE49-F238E27FC236}">
                <a16:creationId xmlns:a16="http://schemas.microsoft.com/office/drawing/2014/main" id="{FDEA4175-6E18-C9E4-6154-42653471745C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546" r="23574" b="-1334"/>
          <a:stretch>
            <a:fillRect/>
          </a:stretch>
        </p:blipFill>
        <p:spPr>
          <a:xfrm>
            <a:off x="7280052" y="1530603"/>
            <a:ext cx="1387812" cy="2146868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1D532363-99CA-214D-94E0-A3C1465D030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697293" y="1609297"/>
            <a:ext cx="1495117" cy="695019"/>
          </a:xfrm>
          <a:prstGeom prst="rect">
            <a:avLst/>
          </a:prstGeom>
        </p:spPr>
      </p:pic>
      <p:pic>
        <p:nvPicPr>
          <p:cNvPr id="49" name="Picture 48" descr="A person in a black shirt&#10;&#10;AI-generated content may be incorrect.">
            <a:extLst>
              <a:ext uri="{FF2B5EF4-FFF2-40B4-BE49-F238E27FC236}">
                <a16:creationId xmlns:a16="http://schemas.microsoft.com/office/drawing/2014/main" id="{3B308B99-D5CB-0AC4-4A49-5ADB21C9D8A7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1965" y="3049760"/>
            <a:ext cx="978426" cy="652284"/>
          </a:xfrm>
          <a:prstGeom prst="rect">
            <a:avLst/>
          </a:prstGeom>
        </p:spPr>
      </p:pic>
      <p:pic>
        <p:nvPicPr>
          <p:cNvPr id="51" name="Picture 50" descr="A person in a white coat and blue gloves holding a swab&#10;&#10;AI-generated content may be incorrect.">
            <a:extLst>
              <a:ext uri="{FF2B5EF4-FFF2-40B4-BE49-F238E27FC236}">
                <a16:creationId xmlns:a16="http://schemas.microsoft.com/office/drawing/2014/main" id="{FF0DC616-147A-B366-FF7D-CB5823AB7003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5354" y="3728379"/>
            <a:ext cx="929948" cy="619965"/>
          </a:xfrm>
          <a:prstGeom prst="rect">
            <a:avLst/>
          </a:prstGeom>
        </p:spPr>
      </p:pic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A3905F41-C422-545F-9F85-DF151D872F6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10912" y="665147"/>
            <a:ext cx="8429323" cy="175113"/>
          </a:xfrm>
        </p:spPr>
        <p:txBody>
          <a:bodyPr/>
          <a:lstStyle/>
          <a:p>
            <a:pPr algn="r" rtl="1"/>
            <a:r>
              <a:rPr lang="ar-OM" dirty="0"/>
              <a:t>تأسس في العام 2020 في أبوظبي عاصمة دولة الامارات العربية المتحدة</a:t>
            </a:r>
            <a:endParaRPr lang="en-US" dirty="0"/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7E1BB52D-DEF1-B9D0-F07C-78C13CEAFD88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751848" y="1364194"/>
            <a:ext cx="1714096" cy="1231313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4F9CC88B-130B-EA14-4533-3262E476DDC0}"/>
              </a:ext>
            </a:extLst>
          </p:cNvPr>
          <p:cNvSpPr txBox="1"/>
          <p:nvPr/>
        </p:nvSpPr>
        <p:spPr>
          <a:xfrm>
            <a:off x="3132870" y="919061"/>
            <a:ext cx="6607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15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OM" sz="1800" b="1" i="0" u="none" strike="noStrike" kern="1200" cap="none" spc="0" normalizeH="0" baseline="0" noProof="0" dirty="0">
                <a:ln>
                  <a:noFill/>
                </a:ln>
                <a:solidFill>
                  <a:srgbClr val="64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مكاتبنا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64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4CB9F3D9-C2DE-B080-2E1E-8BF439CC485E}"/>
              </a:ext>
            </a:extLst>
          </p:cNvPr>
          <p:cNvSpPr txBox="1"/>
          <p:nvPr/>
        </p:nvSpPr>
        <p:spPr>
          <a:xfrm>
            <a:off x="624181" y="966910"/>
            <a:ext cx="4972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4158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OM" sz="1800" b="1" i="0" u="none" strike="noStrike" kern="1200" cap="none" spc="0" normalizeH="0" baseline="0" noProof="0" dirty="0">
                <a:ln>
                  <a:noFill/>
                </a:ln>
                <a:solidFill>
                  <a:srgbClr val="64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لدينا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64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A97EBACA-BA73-9AFD-09D0-7E5E30C804C0}"/>
              </a:ext>
            </a:extLst>
          </p:cNvPr>
          <p:cNvSpPr txBox="1"/>
          <p:nvPr/>
        </p:nvSpPr>
        <p:spPr>
          <a:xfrm>
            <a:off x="4679696" y="880408"/>
            <a:ext cx="24288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15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OM" sz="1800" b="1" i="0" u="none" strike="noStrike" kern="1200" cap="none" spc="0" normalizeH="0" baseline="0" noProof="0" dirty="0">
                <a:ln>
                  <a:noFill/>
                </a:ln>
                <a:solidFill>
                  <a:srgbClr val="64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أمثلة</a:t>
            </a:r>
            <a:r>
              <a:rPr kumimoji="0" lang="ar-OM" sz="1800" b="1" i="0" u="none" strike="noStrike" kern="1200" cap="none" spc="0" normalizeH="0" noProof="0" dirty="0">
                <a:ln>
                  <a:noFill/>
                </a:ln>
                <a:solidFill>
                  <a:srgbClr val="64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على التكنلوجيا التي لدينا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64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D9A5B9D-DA55-54D9-820C-3589C372E54C}"/>
              </a:ext>
            </a:extLst>
          </p:cNvPr>
          <p:cNvSpPr txBox="1"/>
          <p:nvPr/>
        </p:nvSpPr>
        <p:spPr>
          <a:xfrm>
            <a:off x="4751847" y="1296410"/>
            <a:ext cx="1561029" cy="2308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defTabSz="4158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OM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الذكاء الاصطناعي </a:t>
            </a:r>
            <a:r>
              <a:rPr lang="en-US" sz="900" b="1" dirty="0">
                <a:solidFill>
                  <a:srgbClr val="FFFFFF"/>
                </a:solidFill>
                <a:latin typeface="Arial" panose="020B0604020202020204"/>
              </a:rPr>
              <a:t> FALCON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24" name="TextBox 1023">
            <a:extLst>
              <a:ext uri="{FF2B5EF4-FFF2-40B4-BE49-F238E27FC236}">
                <a16:creationId xmlns:a16="http://schemas.microsoft.com/office/drawing/2014/main" id="{57340929-2362-3F03-0AE7-6421DA48A15A}"/>
              </a:ext>
            </a:extLst>
          </p:cNvPr>
          <p:cNvSpPr txBox="1"/>
          <p:nvPr/>
        </p:nvSpPr>
        <p:spPr>
          <a:xfrm>
            <a:off x="6697293" y="1291260"/>
            <a:ext cx="2081965" cy="2308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r" defTabSz="4158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OM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المسيرات: الاعتناء بأشجار</a:t>
            </a:r>
            <a:r>
              <a:rPr kumimoji="0" lang="ar-OM" sz="900" b="1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القرم و اعادة احيائها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27" name="Picture 1026" descr="A race car on a track&#10;&#10;AI-generated content may be incorrect.">
            <a:extLst>
              <a:ext uri="{FF2B5EF4-FFF2-40B4-BE49-F238E27FC236}">
                <a16:creationId xmlns:a16="http://schemas.microsoft.com/office/drawing/2014/main" id="{54D07431-BACC-5ED4-CD13-43B952C82CB4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5576" y="2793270"/>
            <a:ext cx="2673455" cy="1783089"/>
          </a:xfrm>
          <a:prstGeom prst="rect">
            <a:avLst/>
          </a:prstGeom>
        </p:spPr>
      </p:pic>
      <p:sp>
        <p:nvSpPr>
          <p:cNvPr id="1028" name="TextBox 1027">
            <a:extLst>
              <a:ext uri="{FF2B5EF4-FFF2-40B4-BE49-F238E27FC236}">
                <a16:creationId xmlns:a16="http://schemas.microsoft.com/office/drawing/2014/main" id="{03034257-17B3-CFB2-76BF-C61502F9DF4C}"/>
              </a:ext>
            </a:extLst>
          </p:cNvPr>
          <p:cNvSpPr txBox="1"/>
          <p:nvPr/>
        </p:nvSpPr>
        <p:spPr>
          <a:xfrm>
            <a:off x="5027066" y="2726007"/>
            <a:ext cx="2081965" cy="2308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r" defTabSz="4158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OM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سباقات السيارات ذاتية القيادة-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2RL</a:t>
            </a:r>
          </a:p>
        </p:txBody>
      </p:sp>
      <p:sp>
        <p:nvSpPr>
          <p:cNvPr id="1030" name="TextBox 1029">
            <a:extLst>
              <a:ext uri="{FF2B5EF4-FFF2-40B4-BE49-F238E27FC236}">
                <a16:creationId xmlns:a16="http://schemas.microsoft.com/office/drawing/2014/main" id="{28ED1D60-FD43-28BC-33D8-5AE1EF3CB568}"/>
              </a:ext>
            </a:extLst>
          </p:cNvPr>
          <p:cNvSpPr txBox="1"/>
          <p:nvPr/>
        </p:nvSpPr>
        <p:spPr>
          <a:xfrm>
            <a:off x="327220" y="3612474"/>
            <a:ext cx="98139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 lvl="0" indent="0" algn="l" defTabSz="91437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OM" sz="1100" b="1" i="0" u="none" strike="noStrike" kern="1200" cap="none" spc="0" normalizeH="0" baseline="0" noProof="0" dirty="0">
                <a:ln>
                  <a:noFill/>
                </a:ln>
                <a:solidFill>
                  <a:srgbClr val="25374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9 مراكز علمية بحثية في أبوظبي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253746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033" name="Picture 1032">
            <a:extLst>
              <a:ext uri="{FF2B5EF4-FFF2-40B4-BE49-F238E27FC236}">
                <a16:creationId xmlns:a16="http://schemas.microsoft.com/office/drawing/2014/main" id="{75A27C64-C463-F5D2-D186-0DB1FF2CA829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148332" y="2946659"/>
            <a:ext cx="1956694" cy="166478"/>
          </a:xfrm>
          <a:prstGeom prst="rect">
            <a:avLst/>
          </a:prstGeom>
        </p:spPr>
      </p:pic>
      <p:pic>
        <p:nvPicPr>
          <p:cNvPr id="1035" name="Picture 1034">
            <a:extLst>
              <a:ext uri="{FF2B5EF4-FFF2-40B4-BE49-F238E27FC236}">
                <a16:creationId xmlns:a16="http://schemas.microsoft.com/office/drawing/2014/main" id="{B5389CA3-9C31-5005-FF77-4F5473C74A19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868057" y="1675787"/>
            <a:ext cx="760101" cy="178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9377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10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10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10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10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10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10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26" grpId="0"/>
      <p:bldP spid="4" grpId="0"/>
      <p:bldP spid="19" grpId="0" animBg="1"/>
      <p:bldP spid="25" grpId="0" animBg="1"/>
      <p:bldP spid="55" grpId="0"/>
      <p:bldP spid="59" grpId="0"/>
      <p:bldP spid="60" grpId="0"/>
      <p:bldP spid="61" grpId="0"/>
      <p:bldP spid="63" grpId="0" animBg="1"/>
      <p:bldP spid="1024" grpId="0" animBg="1"/>
      <p:bldP spid="1028" grpId="0" animBg="1"/>
      <p:bldP spid="1030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9603253-A1C5-2CE2-5CD9-4B64727EC98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56920" y="1185496"/>
            <a:ext cx="8430160" cy="3543300"/>
          </a:xfrm>
        </p:spPr>
        <p:txBody>
          <a:bodyPr>
            <a:normAutofit fontScale="85000" lnSpcReduction="20000"/>
          </a:bodyPr>
          <a:lstStyle/>
          <a:p>
            <a:pPr marL="171450" indent="-171450" algn="r" rtl="1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ar-OM" sz="1400" b="1" dirty="0">
                <a:solidFill>
                  <a:schemeClr val="accent1"/>
                </a:solidFill>
              </a:rPr>
              <a:t>صُممت الورشة لتكون تفاعلية! و </a:t>
            </a:r>
            <a:r>
              <a:rPr lang="ar-OM" sz="1400" b="1" dirty="0"/>
              <a:t>ليست محاضرة. نوفر مساحةً للطلاب لمشاركة أفكارهم الجريئة، والإبداع، وإلهامهم لبناء مستقبلٍ زاهر!</a:t>
            </a:r>
          </a:p>
          <a:p>
            <a:pPr algn="r" rtl="1">
              <a:buClr>
                <a:schemeClr val="accent1"/>
              </a:buClr>
            </a:pPr>
            <a:endParaRPr lang="en-US" sz="1400" dirty="0"/>
          </a:p>
          <a:p>
            <a:pPr marL="171450" indent="-171450" algn="r" rtl="1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ar-OM" sz="1400" b="1" dirty="0"/>
              <a:t>يمكن تعديل </a:t>
            </a:r>
            <a:r>
              <a:rPr lang="ar-OM" sz="1400" b="1" dirty="0">
                <a:solidFill>
                  <a:schemeClr val="accent1"/>
                </a:solidFill>
              </a:rPr>
              <a:t>المدة </a:t>
            </a:r>
            <a:r>
              <a:rPr lang="ar-OM" sz="1400" b="1" dirty="0"/>
              <a:t>حسب الوقت المخصص للتمارين المختلفة</a:t>
            </a:r>
          </a:p>
          <a:p>
            <a:pPr algn="r" rtl="1">
              <a:buClr>
                <a:schemeClr val="accent1"/>
              </a:buClr>
            </a:pPr>
            <a:endParaRPr lang="en-US" sz="1400" dirty="0"/>
          </a:p>
          <a:p>
            <a:pPr marL="171450" indent="-171450" algn="r" rtl="1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ar-OM" sz="1400" b="1" dirty="0"/>
              <a:t>يناسب جميع الطلاب من </a:t>
            </a:r>
            <a:r>
              <a:rPr lang="ar-OM" sz="1400" b="1" dirty="0">
                <a:solidFill>
                  <a:schemeClr val="accent1"/>
                </a:solidFill>
              </a:rPr>
              <a:t>الصف الثامن إلى الصف الثاني عشر </a:t>
            </a:r>
            <a:r>
              <a:rPr lang="ar-OM" sz="1400" b="1" dirty="0"/>
              <a:t>(كافة التخصصات)</a:t>
            </a:r>
          </a:p>
          <a:p>
            <a:pPr algn="r" rtl="1">
              <a:buClr>
                <a:schemeClr val="accent1"/>
              </a:buClr>
            </a:pPr>
            <a:endParaRPr lang="en-US" sz="1400" dirty="0"/>
          </a:p>
          <a:p>
            <a:pPr marL="171450" indent="-171450" algn="r" rtl="1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ar-OM" sz="1400" b="1" dirty="0"/>
              <a:t>كل ما تحتاجون لمعرفته موجود في هذا ا</a:t>
            </a:r>
            <a:r>
              <a:rPr lang="ar-OM" sz="1400" b="1" dirty="0">
                <a:solidFill>
                  <a:schemeClr val="accent1"/>
                </a:solidFill>
              </a:rPr>
              <a:t>لعرض التقديمي </a:t>
            </a:r>
            <a:r>
              <a:rPr lang="ar-OM" sz="1400" b="1" dirty="0"/>
              <a:t>و قد تم إضافة </a:t>
            </a:r>
            <a:r>
              <a:rPr lang="ar-OM" sz="1400" b="1" dirty="0">
                <a:solidFill>
                  <a:schemeClr val="accent1"/>
                </a:solidFill>
              </a:rPr>
              <a:t>التعليقات</a:t>
            </a:r>
            <a:r>
              <a:rPr lang="ar-OM" sz="1400" b="1" dirty="0"/>
              <a:t> على الشرائح كملاحظات.</a:t>
            </a:r>
          </a:p>
          <a:p>
            <a:pPr algn="r" rtl="1">
              <a:buClr>
                <a:schemeClr val="accent1"/>
              </a:buClr>
            </a:pPr>
            <a:endParaRPr lang="ar-OM" sz="1400" dirty="0"/>
          </a:p>
          <a:p>
            <a:pPr marL="171450" indent="-171450" algn="r" rtl="1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ar-OM" sz="1400" b="1" dirty="0">
                <a:solidFill>
                  <a:schemeClr val="accent1"/>
                </a:solidFill>
              </a:rPr>
              <a:t>لا يُشترط منك أي معرفة خاصة بالتقنيات المتقدمة </a:t>
            </a:r>
            <a:r>
              <a:rPr lang="ar-OM" sz="1400" b="1" dirty="0"/>
              <a:t>- إذا كانت لديك أي أسئلة، راجع الدليل / موقع </a:t>
            </a:r>
            <a:r>
              <a:rPr lang="en-US" sz="1400" b="1" dirty="0"/>
              <a:t>(https://www.atrc.gov.ae/ffcp) </a:t>
            </a:r>
            <a:r>
              <a:rPr lang="ar-OM" sz="1400" b="1" dirty="0"/>
              <a:t> تتوفر في الموقع اختبارات المهن المستقبلية ودليل المهن المستقبلية حول التقنيات المتقدمة في هذا الموقع.</a:t>
            </a:r>
          </a:p>
          <a:p>
            <a:pPr algn="r" rtl="1">
              <a:buClr>
                <a:schemeClr val="accent1"/>
              </a:buClr>
            </a:pPr>
            <a:endParaRPr lang="ar-OM" sz="1400" b="1" dirty="0"/>
          </a:p>
          <a:p>
            <a:pPr marL="285750" indent="-285750" algn="r" rtl="1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ar-OM" sz="1400" b="1" dirty="0">
                <a:solidFill>
                  <a:schemeClr val="accent1"/>
                </a:solidFill>
              </a:rPr>
              <a:t>نرحب بملاحظاتكم ويسعدنا معرفة مدى نجاح الورشة! </a:t>
            </a:r>
            <a:r>
              <a:rPr lang="ar-OM" sz="1400" b="1" dirty="0"/>
              <a:t>استخدموا رموز </a:t>
            </a:r>
            <a:r>
              <a:rPr lang="ar-OM" sz="1400" b="1" dirty="0">
                <a:solidFill>
                  <a:schemeClr val="accent1"/>
                </a:solidFill>
              </a:rPr>
              <a:t>الاستجابة السريعة</a:t>
            </a:r>
            <a:r>
              <a:rPr lang="en-US" sz="1400" b="1" dirty="0">
                <a:solidFill>
                  <a:schemeClr val="accent1"/>
                </a:solidFill>
              </a:rPr>
              <a:t> </a:t>
            </a:r>
            <a:r>
              <a:rPr lang="ar-OM" sz="1400" b="1" dirty="0">
                <a:solidFill>
                  <a:schemeClr val="accent1"/>
                </a:solidFill>
              </a:rPr>
              <a:t> </a:t>
            </a:r>
            <a:r>
              <a:rPr lang="ar-OM" sz="1400" b="1" dirty="0"/>
              <a:t>وشجعوا الطلاب على استخدامها للتواصل و ابداء الآراء</a:t>
            </a:r>
            <a:r>
              <a:rPr lang="ar-OM" sz="1400" dirty="0"/>
              <a:t>.</a:t>
            </a:r>
          </a:p>
          <a:p>
            <a:pPr algn="r" rtl="1">
              <a:buClr>
                <a:schemeClr val="accent1"/>
              </a:buClr>
            </a:pPr>
            <a:endParaRPr lang="ar-OM" sz="1400" dirty="0"/>
          </a:p>
          <a:p>
            <a:pPr marL="171450" indent="-171450" algn="r" rtl="1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ar-OM" sz="1400" b="1" dirty="0">
                <a:solidFill>
                  <a:schemeClr val="accent1"/>
                </a:solidFill>
              </a:rPr>
              <a:t>هذا البرنامج معتمد من قبل </a:t>
            </a:r>
            <a:r>
              <a:rPr lang="en-US" sz="1400" b="1" dirty="0">
                <a:solidFill>
                  <a:schemeClr val="accent1"/>
                </a:solidFill>
              </a:rPr>
              <a:t>ADEK</a:t>
            </a:r>
            <a:r>
              <a:rPr lang="ar-OM" sz="1400" b="1" dirty="0"/>
              <a:t> وستحصل على </a:t>
            </a:r>
            <a:r>
              <a:rPr lang="ar-OM" sz="1400" b="1" dirty="0">
                <a:solidFill>
                  <a:schemeClr val="accent1"/>
                </a:solidFill>
              </a:rPr>
              <a:t>شهادة تقدير </a:t>
            </a:r>
            <a:r>
              <a:rPr lang="ar-OM" sz="1400" b="1" dirty="0"/>
              <a:t>عند تقديم ورشة عمل للطلاب (سنحتاج إلى إجابات الطلاب وردودك على الاستبيانات من خلال رموز الاستجابة السريعة</a:t>
            </a:r>
            <a:r>
              <a:rPr lang="en-US" sz="1400" b="1" dirty="0"/>
              <a:t> </a:t>
            </a:r>
            <a:r>
              <a:rPr lang="ar-OM" sz="1400" b="1" dirty="0"/>
              <a:t>في التدريب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1608F00-FF3C-3824-07E1-C4AF041091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9413" y="98792"/>
            <a:ext cx="7825174" cy="630970"/>
          </a:xfrm>
        </p:spPr>
        <p:txBody>
          <a:bodyPr/>
          <a:lstStyle/>
          <a:p>
            <a:pPr algn="r" rtl="1"/>
            <a:r>
              <a:rPr lang="ar-OM" sz="2400" dirty="0"/>
              <a:t>عن ورشة مجلس أبحاث التكنولوجيا المتطورة</a:t>
            </a:r>
            <a:br>
              <a:rPr lang="en-US" sz="2400" dirty="0"/>
            </a:br>
            <a:r>
              <a:rPr lang="en-US" sz="2400" dirty="0"/>
              <a:t>“</a:t>
            </a:r>
            <a:r>
              <a:rPr lang="ar-OM" sz="2400" dirty="0"/>
              <a:t>مَن يبني المستقبل؟</a:t>
            </a:r>
            <a:r>
              <a:rPr lang="en-US" sz="2400" dirty="0"/>
              <a:t> “</a:t>
            </a:r>
          </a:p>
        </p:txBody>
      </p:sp>
    </p:spTree>
    <p:extLst>
      <p:ext uri="{BB962C8B-B14F-4D97-AF65-F5344CB8AC3E}">
        <p14:creationId xmlns:p14="http://schemas.microsoft.com/office/powerpoint/2010/main" val="1380501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B8B940-4791-6A46-DDC6-226242C57B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C1F1421C-BDFA-E771-86A6-994F482C49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049" y="274638"/>
            <a:ext cx="8100772" cy="274637"/>
          </a:xfrm>
        </p:spPr>
        <p:txBody>
          <a:bodyPr/>
          <a:lstStyle/>
          <a:p>
            <a:r>
              <a:rPr lang="ar-sa" dirty="0">
                <a:latin typeface="Sakkal Majalla" panose="02000000000000000000" pitchFamily="2" charset="-78"/>
                <a:cs typeface="Sakkal Majalla" panose="02000000000000000000" pitchFamily="2" charset="-78"/>
              </a:rPr>
              <a:t>رحلة تطوّر التكنولوجيا ومستقبلها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C6CE1C-DFB5-0AF1-0BFD-6C46BD65AE12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188A753A-993D-3860-AF2F-8571CBE3FB3E}"/>
              </a:ext>
            </a:extLst>
          </p:cNvPr>
          <p:cNvCxnSpPr>
            <a:cxnSpLocks/>
          </p:cNvCxnSpPr>
          <p:nvPr/>
        </p:nvCxnSpPr>
        <p:spPr>
          <a:xfrm>
            <a:off x="3040380" y="1068751"/>
            <a:ext cx="0" cy="3998549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EF1FFF0-319D-8BD6-2DA3-DC9F8A5F0944}"/>
              </a:ext>
            </a:extLst>
          </p:cNvPr>
          <p:cNvCxnSpPr>
            <a:cxnSpLocks/>
          </p:cNvCxnSpPr>
          <p:nvPr/>
        </p:nvCxnSpPr>
        <p:spPr>
          <a:xfrm>
            <a:off x="6288232" y="1068751"/>
            <a:ext cx="0" cy="3990929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2" descr="Stone Age Weapons | LD Edwards, Sr | Flickr">
            <a:extLst>
              <a:ext uri="{FF2B5EF4-FFF2-40B4-BE49-F238E27FC236}">
                <a16:creationId xmlns:a16="http://schemas.microsoft.com/office/drawing/2014/main" id="{9B2CCCA5-C554-0B04-EC64-C4808F6B5E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67491" y="2288539"/>
            <a:ext cx="1781184" cy="1001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Mountain Of Fire Prayer Points For The Month Of October 2023">
            <a:extLst>
              <a:ext uri="{FF2B5EF4-FFF2-40B4-BE49-F238E27FC236}">
                <a16:creationId xmlns:a16="http://schemas.microsoft.com/office/drawing/2014/main" id="{A062F4EF-2D22-2EC7-526F-D652C40C93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38162" y="1462210"/>
            <a:ext cx="1110515" cy="740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7 Cool Home Automation Products">
            <a:extLst>
              <a:ext uri="{FF2B5EF4-FFF2-40B4-BE49-F238E27FC236}">
                <a16:creationId xmlns:a16="http://schemas.microsoft.com/office/drawing/2014/main" id="{E5069357-6D7E-5F69-CEAB-4F4D18EEA0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6032" b="89524" l="8000" r="94222">
                        <a14:foregroundMark x1="23556" y1="13968" x2="78222" y2="9841"/>
                        <a14:foregroundMark x1="20000" y1="18095" x2="69778" y2="8254"/>
                        <a14:foregroundMark x1="60444" y1="7302" x2="30667" y2="8571"/>
                        <a14:foregroundMark x1="57778" y1="6349" x2="57778" y2="6349"/>
                        <a14:foregroundMark x1="64000" y1="6032" x2="64000" y2="6032"/>
                        <a14:foregroundMark x1="11111" y1="28254" x2="15111" y2="72063"/>
                        <a14:foregroundMark x1="15111" y1="72063" x2="17333" y2="73968"/>
                        <a14:foregroundMark x1="12444" y1="72063" x2="12444" y2="40000"/>
                        <a14:foregroundMark x1="8444" y1="41587" x2="8889" y2="62222"/>
                        <a14:foregroundMark x1="89778" y1="20952" x2="86667" y2="71746"/>
                        <a14:foregroundMark x1="92000" y1="31111" x2="86222" y2="62222"/>
                        <a14:foregroundMark x1="92889" y1="52698" x2="94222" y2="41587"/>
                        <a14:foregroundMark x1="35111" y1="89206" x2="74667" y2="85714"/>
                        <a14:foregroundMark x1="73778" y1="87937" x2="79111" y2="8285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77311" y="1538349"/>
            <a:ext cx="481733" cy="674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Agriculture in the Neolithic by José Emilio Toro Pareja | Historia ...">
            <a:extLst>
              <a:ext uri="{FF2B5EF4-FFF2-40B4-BE49-F238E27FC236}">
                <a16:creationId xmlns:a16="http://schemas.microsoft.com/office/drawing/2014/main" id="{7BECE8D9-B406-C294-F9A1-80CC4366A8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99985" y="3376441"/>
            <a:ext cx="2158501" cy="1306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 descr="A water mill next to a building&#10;&#10;AI-generated content may be incorrect.">
            <a:extLst>
              <a:ext uri="{FF2B5EF4-FFF2-40B4-BE49-F238E27FC236}">
                <a16:creationId xmlns:a16="http://schemas.microsoft.com/office/drawing/2014/main" id="{C526400C-5E03-3647-4D8F-A83E99F9C776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11"/>
              </a:ext>
            </a:extLst>
          </a:blip>
          <a:srcRect/>
          <a:stretch/>
        </p:blipFill>
        <p:spPr>
          <a:xfrm>
            <a:off x="3312798" y="1414904"/>
            <a:ext cx="1430334" cy="1382927"/>
          </a:xfrm>
          <a:prstGeom prst="rect">
            <a:avLst/>
          </a:prstGeom>
        </p:spPr>
      </p:pic>
      <p:pic>
        <p:nvPicPr>
          <p:cNvPr id="11" name="Picture 10" descr="A windmill on a grassy field&#10;&#10;AI-generated content may be incorrect.">
            <a:extLst>
              <a:ext uri="{FF2B5EF4-FFF2-40B4-BE49-F238E27FC236}">
                <a16:creationId xmlns:a16="http://schemas.microsoft.com/office/drawing/2014/main" id="{2A309115-E1B6-4677-FC28-90EBA2FBFE0C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13"/>
              </a:ext>
            </a:extLst>
          </a:blip>
          <a:stretch>
            <a:fillRect/>
          </a:stretch>
        </p:blipFill>
        <p:spPr>
          <a:xfrm>
            <a:off x="4808839" y="1458711"/>
            <a:ext cx="1106436" cy="1659655"/>
          </a:xfrm>
          <a:prstGeom prst="rect">
            <a:avLst/>
          </a:prstGeom>
        </p:spPr>
      </p:pic>
      <p:pic>
        <p:nvPicPr>
          <p:cNvPr id="14" name="Picture 13" descr="A close-up of a clock&#10;&#10;AI-generated content may be incorrect.">
            <a:extLst>
              <a:ext uri="{FF2B5EF4-FFF2-40B4-BE49-F238E27FC236}">
                <a16:creationId xmlns:a16="http://schemas.microsoft.com/office/drawing/2014/main" id="{B86B1724-AAED-0C8A-7E5D-055A6ED06D13}"/>
              </a:ext>
            </a:extLst>
          </p:cNvPr>
          <p:cNvPicPr>
            <a:picLocks noChangeAspect="1"/>
          </p:cNvPicPr>
          <p:nvPr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15"/>
              </a:ext>
            </a:extLst>
          </a:blip>
          <a:stretch>
            <a:fillRect/>
          </a:stretch>
        </p:blipFill>
        <p:spPr>
          <a:xfrm>
            <a:off x="4808839" y="3173241"/>
            <a:ext cx="1106436" cy="1474879"/>
          </a:xfrm>
          <a:prstGeom prst="rect">
            <a:avLst/>
          </a:prstGeom>
        </p:spPr>
      </p:pic>
      <p:pic>
        <p:nvPicPr>
          <p:cNvPr id="16" name="Picture 15" descr="A large wooden printing press&#10;&#10;AI-generated content may be incorrect.">
            <a:extLst>
              <a:ext uri="{FF2B5EF4-FFF2-40B4-BE49-F238E27FC236}">
                <a16:creationId xmlns:a16="http://schemas.microsoft.com/office/drawing/2014/main" id="{77346F4C-57F7-6750-9E15-5429AB403EFB}"/>
              </a:ext>
            </a:extLst>
          </p:cNvPr>
          <p:cNvPicPr>
            <a:picLocks noChangeAspect="1"/>
          </p:cNvPicPr>
          <p:nvPr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17"/>
              </a:ext>
            </a:extLst>
          </a:blip>
          <a:stretch>
            <a:fillRect/>
          </a:stretch>
        </p:blipFill>
        <p:spPr>
          <a:xfrm>
            <a:off x="3542636" y="2851411"/>
            <a:ext cx="1207389" cy="1810199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9578EBA2-CC06-13EC-3538-095470CDB6A9}"/>
              </a:ext>
            </a:extLst>
          </p:cNvPr>
          <p:cNvSpPr/>
          <p:nvPr/>
        </p:nvSpPr>
        <p:spPr>
          <a:xfrm flipH="1">
            <a:off x="4901180" y="2851412"/>
            <a:ext cx="933129" cy="197414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gradFill flip="none" rotWithShape="1">
              <a:gsLst>
                <a:gs pos="0">
                  <a:schemeClr val="accent1">
                    <a:lumMod val="89000"/>
                  </a:schemeClr>
                </a:gs>
                <a:gs pos="23000">
                  <a:schemeClr val="accent1">
                    <a:lumMod val="89000"/>
                  </a:schemeClr>
                </a:gs>
                <a:gs pos="69000">
                  <a:schemeClr val="accent1">
                    <a:lumMod val="75000"/>
                  </a:schemeClr>
                </a:gs>
                <a:gs pos="97000">
                  <a:schemeClr val="accent1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9144" rIns="9144" rtlCol="0" anchor="ctr"/>
          <a:lstStyle/>
          <a:p>
            <a:pPr algn="ctr"/>
            <a:r>
              <a:rPr lang="ar-sa">
                <a:latin typeface="Sakkal Majalla" panose="02000000000000000000" pitchFamily="2" charset="-78"/>
                <a:cs typeface="Sakkal Majalla" panose="02000000000000000000" pitchFamily="2" charset="-78"/>
              </a:rPr>
              <a:t>طاحونة الهواء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7BCD457-B529-22C7-CC34-99A239B57940}"/>
              </a:ext>
            </a:extLst>
          </p:cNvPr>
          <p:cNvSpPr/>
          <p:nvPr/>
        </p:nvSpPr>
        <p:spPr>
          <a:xfrm flipH="1">
            <a:off x="3553230" y="1465520"/>
            <a:ext cx="933129" cy="197414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gradFill flip="none" rotWithShape="1">
              <a:gsLst>
                <a:gs pos="0">
                  <a:schemeClr val="accent1">
                    <a:lumMod val="89000"/>
                  </a:schemeClr>
                </a:gs>
                <a:gs pos="23000">
                  <a:schemeClr val="accent1">
                    <a:lumMod val="89000"/>
                  </a:schemeClr>
                </a:gs>
                <a:gs pos="69000">
                  <a:schemeClr val="accent1">
                    <a:lumMod val="75000"/>
                  </a:schemeClr>
                </a:gs>
                <a:gs pos="97000">
                  <a:schemeClr val="accent1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9144" rIns="9144" rtlCol="0" anchor="ctr"/>
          <a:lstStyle/>
          <a:p>
            <a:pPr algn="ctr"/>
            <a:r>
              <a:rPr lang="ar-sa">
                <a:latin typeface="Sakkal Majalla" panose="02000000000000000000" pitchFamily="2" charset="-78"/>
                <a:cs typeface="Sakkal Majalla" panose="02000000000000000000" pitchFamily="2" charset="-78"/>
              </a:rPr>
              <a:t>الطاحونة المائية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4318488-64DB-B872-9597-618A4984329B}"/>
              </a:ext>
            </a:extLst>
          </p:cNvPr>
          <p:cNvSpPr/>
          <p:nvPr/>
        </p:nvSpPr>
        <p:spPr>
          <a:xfrm flipH="1">
            <a:off x="3660087" y="2920952"/>
            <a:ext cx="933129" cy="197414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gradFill flip="none" rotWithShape="1">
              <a:gsLst>
                <a:gs pos="0">
                  <a:schemeClr val="accent1">
                    <a:lumMod val="89000"/>
                  </a:schemeClr>
                </a:gs>
                <a:gs pos="23000">
                  <a:schemeClr val="accent1">
                    <a:lumMod val="89000"/>
                  </a:schemeClr>
                </a:gs>
                <a:gs pos="69000">
                  <a:schemeClr val="accent1">
                    <a:lumMod val="75000"/>
                  </a:schemeClr>
                </a:gs>
                <a:gs pos="97000">
                  <a:schemeClr val="accent1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9144" rIns="9144" rtlCol="0" anchor="ctr"/>
          <a:lstStyle/>
          <a:p>
            <a:pPr algn="ctr"/>
            <a:r>
              <a:rPr lang="ar-sa">
                <a:latin typeface="Sakkal Majalla" panose="02000000000000000000" pitchFamily="2" charset="-78"/>
                <a:cs typeface="Sakkal Majalla" panose="02000000000000000000" pitchFamily="2" charset="-78"/>
              </a:rPr>
              <a:t>المطبعة</a:t>
            </a:r>
          </a:p>
        </p:txBody>
      </p:sp>
      <p:pic>
        <p:nvPicPr>
          <p:cNvPr id="22" name="Picture 21" descr="A black smoke coming out of a train&#10;&#10;AI-generated content may be incorrect.">
            <a:extLst>
              <a:ext uri="{FF2B5EF4-FFF2-40B4-BE49-F238E27FC236}">
                <a16:creationId xmlns:a16="http://schemas.microsoft.com/office/drawing/2014/main" id="{9DDD805E-A818-E15B-0DF6-F093119E35D2}"/>
              </a:ext>
            </a:extLst>
          </p:cNvPr>
          <p:cNvPicPr>
            <a:picLocks noChangeAspect="1"/>
          </p:cNvPicPr>
          <p:nvPr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19"/>
              </a:ext>
            </a:extLst>
          </a:blip>
          <a:stretch>
            <a:fillRect/>
          </a:stretch>
        </p:blipFill>
        <p:spPr>
          <a:xfrm>
            <a:off x="1528600" y="2379412"/>
            <a:ext cx="1339173" cy="1684011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E18201F7-6BEB-ED5E-12F1-5DCFDC45601F}"/>
              </a:ext>
            </a:extLst>
          </p:cNvPr>
          <p:cNvSpPr/>
          <p:nvPr/>
        </p:nvSpPr>
        <p:spPr>
          <a:xfrm flipH="1">
            <a:off x="1722832" y="2457922"/>
            <a:ext cx="953547" cy="306214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gradFill flip="none" rotWithShape="1">
              <a:gsLst>
                <a:gs pos="0">
                  <a:schemeClr val="accent1">
                    <a:lumMod val="89000"/>
                  </a:schemeClr>
                </a:gs>
                <a:gs pos="23000">
                  <a:schemeClr val="accent1">
                    <a:lumMod val="89000"/>
                  </a:schemeClr>
                </a:gs>
                <a:gs pos="69000">
                  <a:schemeClr val="accent1">
                    <a:lumMod val="75000"/>
                  </a:schemeClr>
                </a:gs>
                <a:gs pos="97000">
                  <a:schemeClr val="accent1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9144" rIns="9144" rtlCol="0" anchor="ctr"/>
          <a:lstStyle/>
          <a:p>
            <a:pPr algn="ctr"/>
            <a:r>
              <a:rPr lang="ar-sa">
                <a:latin typeface="Sakkal Majalla" panose="02000000000000000000" pitchFamily="2" charset="-78"/>
                <a:cs typeface="Sakkal Majalla" panose="02000000000000000000" pitchFamily="2" charset="-78"/>
              </a:rPr>
              <a:t>محرك البخار والسكك الحديدية</a:t>
            </a:r>
          </a:p>
        </p:txBody>
      </p:sp>
      <p:pic>
        <p:nvPicPr>
          <p:cNvPr id="26" name="Picture 25" descr="A light bulb with a filament&#10;&#10;AI-generated content may be incorrect.">
            <a:extLst>
              <a:ext uri="{FF2B5EF4-FFF2-40B4-BE49-F238E27FC236}">
                <a16:creationId xmlns:a16="http://schemas.microsoft.com/office/drawing/2014/main" id="{892C6A14-C353-6FE3-EB0B-DF7DAA977568}"/>
              </a:ext>
            </a:extLst>
          </p:cNvPr>
          <p:cNvPicPr>
            <a:picLocks noChangeAspect="1"/>
          </p:cNvPicPr>
          <p:nvPr/>
        </p:nvPicPr>
        <p:blipFill>
          <a:blip r:embed="rId20" cstate="hqprint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21"/>
              </a:ext>
            </a:extLst>
          </a:blip>
          <a:stretch>
            <a:fillRect/>
          </a:stretch>
        </p:blipFill>
        <p:spPr>
          <a:xfrm>
            <a:off x="224048" y="1426366"/>
            <a:ext cx="1229053" cy="1229053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CF30C47E-8736-96E1-C7A4-02BECBAFDE11}"/>
              </a:ext>
            </a:extLst>
          </p:cNvPr>
          <p:cNvSpPr/>
          <p:nvPr/>
        </p:nvSpPr>
        <p:spPr>
          <a:xfrm flipH="1">
            <a:off x="372011" y="2324687"/>
            <a:ext cx="933129" cy="197414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gradFill flip="none" rotWithShape="1">
              <a:gsLst>
                <a:gs pos="0">
                  <a:schemeClr val="accent1">
                    <a:lumMod val="89000"/>
                  </a:schemeClr>
                </a:gs>
                <a:gs pos="23000">
                  <a:schemeClr val="accent1">
                    <a:lumMod val="89000"/>
                  </a:schemeClr>
                </a:gs>
                <a:gs pos="69000">
                  <a:schemeClr val="accent1">
                    <a:lumMod val="75000"/>
                  </a:schemeClr>
                </a:gs>
                <a:gs pos="97000">
                  <a:schemeClr val="accent1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9144" rIns="9144" rtlCol="0" anchor="ctr"/>
          <a:lstStyle/>
          <a:p>
            <a:pPr algn="ctr"/>
            <a:r>
              <a:rPr lang="ar-sa">
                <a:latin typeface="Sakkal Majalla" panose="02000000000000000000" pitchFamily="2" charset="-78"/>
                <a:cs typeface="Sakkal Majalla" panose="02000000000000000000" pitchFamily="2" charset="-78"/>
              </a:rPr>
              <a:t>الكهرباء</a:t>
            </a:r>
          </a:p>
        </p:txBody>
      </p:sp>
      <p:pic>
        <p:nvPicPr>
          <p:cNvPr id="28" name="Picture 27" descr="A telephone on a table&#10;&#10;AI-generated content may be incorrect.">
            <a:extLst>
              <a:ext uri="{FF2B5EF4-FFF2-40B4-BE49-F238E27FC236}">
                <a16:creationId xmlns:a16="http://schemas.microsoft.com/office/drawing/2014/main" id="{E80FB01B-72D2-AE8A-4902-6780E0258D06}"/>
              </a:ext>
            </a:extLst>
          </p:cNvPr>
          <p:cNvPicPr>
            <a:picLocks noChangeAspect="1"/>
          </p:cNvPicPr>
          <p:nvPr/>
        </p:nvPicPr>
        <p:blipFill>
          <a:blip r:embed="rId22" cstate="hqprint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23"/>
              </a:ext>
            </a:extLst>
          </a:blip>
          <a:stretch>
            <a:fillRect/>
          </a:stretch>
        </p:blipFill>
        <p:spPr>
          <a:xfrm>
            <a:off x="217621" y="2733411"/>
            <a:ext cx="1235480" cy="820329"/>
          </a:xfrm>
          <a:prstGeom prst="rect">
            <a:avLst/>
          </a:prstGeom>
        </p:spPr>
      </p:pic>
      <p:pic>
        <p:nvPicPr>
          <p:cNvPr id="29" name="Picture 28" descr="A warehouse with rolls of metal&#10;&#10;AI-generated content may be incorrect.">
            <a:extLst>
              <a:ext uri="{FF2B5EF4-FFF2-40B4-BE49-F238E27FC236}">
                <a16:creationId xmlns:a16="http://schemas.microsoft.com/office/drawing/2014/main" id="{6959D524-D4F9-20BA-7BD1-4AADE5792B88}"/>
              </a:ext>
            </a:extLst>
          </p:cNvPr>
          <p:cNvPicPr>
            <a:picLocks noChangeAspect="1"/>
          </p:cNvPicPr>
          <p:nvPr/>
        </p:nvPicPr>
        <p:blipFill>
          <a:blip r:embed="rId24" cstate="hqprint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25"/>
              </a:ext>
            </a:extLst>
          </a:blip>
          <a:stretch>
            <a:fillRect/>
          </a:stretch>
        </p:blipFill>
        <p:spPr>
          <a:xfrm>
            <a:off x="1534248" y="1437862"/>
            <a:ext cx="1330713" cy="886825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E3B4FBE7-F084-AA2F-86C0-C5B6AC15BC1F}"/>
              </a:ext>
            </a:extLst>
          </p:cNvPr>
          <p:cNvSpPr/>
          <p:nvPr/>
        </p:nvSpPr>
        <p:spPr>
          <a:xfrm flipH="1">
            <a:off x="1711205" y="1497301"/>
            <a:ext cx="933129" cy="197414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gradFill flip="none" rotWithShape="1">
              <a:gsLst>
                <a:gs pos="0">
                  <a:schemeClr val="accent1">
                    <a:lumMod val="89000"/>
                  </a:schemeClr>
                </a:gs>
                <a:gs pos="23000">
                  <a:schemeClr val="accent1">
                    <a:lumMod val="89000"/>
                  </a:schemeClr>
                </a:gs>
                <a:gs pos="69000">
                  <a:schemeClr val="accent1">
                    <a:lumMod val="75000"/>
                  </a:schemeClr>
                </a:gs>
                <a:gs pos="97000">
                  <a:schemeClr val="accent1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9144" rIns="9144" rtlCol="0" anchor="ctr"/>
          <a:lstStyle/>
          <a:p>
            <a:pPr algn="ctr"/>
            <a:r>
              <a:rPr lang="ar-sa">
                <a:latin typeface="Sakkal Majalla" panose="02000000000000000000" pitchFamily="2" charset="-78"/>
                <a:cs typeface="Sakkal Majalla" panose="02000000000000000000" pitchFamily="2" charset="-78"/>
              </a:rPr>
              <a:t>الفولاذ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D79200F-A8D2-41E7-3AB1-341791AF8040}"/>
              </a:ext>
            </a:extLst>
          </p:cNvPr>
          <p:cNvSpPr txBox="1"/>
          <p:nvPr/>
        </p:nvSpPr>
        <p:spPr>
          <a:xfrm flipH="1">
            <a:off x="6991378" y="1024425"/>
            <a:ext cx="1093568" cy="307777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none" rtlCol="0">
            <a:spAutoFit/>
          </a:bodyPr>
          <a:lstStyle/>
          <a:p>
            <a:r>
              <a:rPr lang="ar-sa" sz="1400" b="1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لتقنيات القديمة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23B8352-F698-4F07-D204-1BBE48B9CC81}"/>
              </a:ext>
            </a:extLst>
          </p:cNvPr>
          <p:cNvSpPr txBox="1"/>
          <p:nvPr/>
        </p:nvSpPr>
        <p:spPr>
          <a:xfrm flipH="1">
            <a:off x="3902719" y="1017019"/>
            <a:ext cx="1523174" cy="307777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none" rtlCol="0">
            <a:spAutoFit/>
          </a:bodyPr>
          <a:lstStyle/>
          <a:p>
            <a:r>
              <a:rPr lang="ar-sa" sz="1400" b="1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بتكارات العصور الوسطى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0ECB206-7552-09F8-EACF-AD15B5628509}"/>
              </a:ext>
            </a:extLst>
          </p:cNvPr>
          <p:cNvSpPr txBox="1"/>
          <p:nvPr/>
        </p:nvSpPr>
        <p:spPr>
          <a:xfrm flipH="1">
            <a:off x="547504" y="1025667"/>
            <a:ext cx="2100255" cy="307777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none" rtlCol="0">
            <a:spAutoFit/>
          </a:bodyPr>
          <a:lstStyle/>
          <a:p>
            <a:r>
              <a:rPr lang="ar-sa" sz="1400" b="1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لثورة الصناعية واستكشاف الفضاء</a:t>
            </a:r>
          </a:p>
        </p:txBody>
      </p:sp>
      <p:pic>
        <p:nvPicPr>
          <p:cNvPr id="38" name="Picture 37" descr="A space shuttle taking off&#10;&#10;AI-generated content may be incorrect.">
            <a:extLst>
              <a:ext uri="{FF2B5EF4-FFF2-40B4-BE49-F238E27FC236}">
                <a16:creationId xmlns:a16="http://schemas.microsoft.com/office/drawing/2014/main" id="{60250133-1DBB-2F12-2288-6B18F1EBCB73}"/>
              </a:ext>
            </a:extLst>
          </p:cNvPr>
          <p:cNvPicPr>
            <a:picLocks noChangeAspect="1"/>
          </p:cNvPicPr>
          <p:nvPr/>
        </p:nvPicPr>
        <p:blipFill>
          <a:blip r:embed="rId26" cstate="hqprint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27"/>
              </a:ext>
            </a:extLst>
          </a:blip>
          <a:stretch>
            <a:fillRect/>
          </a:stretch>
        </p:blipFill>
        <p:spPr>
          <a:xfrm>
            <a:off x="603491" y="3631732"/>
            <a:ext cx="847792" cy="1262504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8A821967-5487-AEBE-4FE0-391A1A520218}"/>
              </a:ext>
            </a:extLst>
          </p:cNvPr>
          <p:cNvSpPr/>
          <p:nvPr/>
        </p:nvSpPr>
        <p:spPr>
          <a:xfrm flipH="1">
            <a:off x="641426" y="4653200"/>
            <a:ext cx="771294" cy="183125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gradFill flip="none" rotWithShape="1">
              <a:gsLst>
                <a:gs pos="0">
                  <a:schemeClr val="accent1">
                    <a:lumMod val="89000"/>
                  </a:schemeClr>
                </a:gs>
                <a:gs pos="23000">
                  <a:schemeClr val="accent1">
                    <a:lumMod val="89000"/>
                  </a:schemeClr>
                </a:gs>
                <a:gs pos="69000">
                  <a:schemeClr val="accent1">
                    <a:lumMod val="75000"/>
                  </a:schemeClr>
                </a:gs>
                <a:gs pos="97000">
                  <a:schemeClr val="accent1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9144" rIns="9144" rtlCol="0" anchor="ctr"/>
          <a:lstStyle/>
          <a:p>
            <a:pPr algn="ctr"/>
            <a:r>
              <a:rPr lang="ar-sa">
                <a:latin typeface="Sakkal Majalla" panose="02000000000000000000" pitchFamily="2" charset="-78"/>
                <a:cs typeface="Sakkal Majalla" panose="02000000000000000000" pitchFamily="2" charset="-78"/>
              </a:rPr>
              <a:t>المركبة الفضائية</a:t>
            </a:r>
          </a:p>
        </p:txBody>
      </p:sp>
      <p:sp>
        <p:nvSpPr>
          <p:cNvPr id="40" name="Footer Placeholder 4">
            <a:extLst>
              <a:ext uri="{FF2B5EF4-FFF2-40B4-BE49-F238E27FC236}">
                <a16:creationId xmlns:a16="http://schemas.microsoft.com/office/drawing/2014/main" id="{01DA08E1-FF85-D5A2-5027-D92E22C70E2C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52400" y="4779811"/>
            <a:ext cx="9144000" cy="135480"/>
          </a:xfrm>
          <a:prstGeom prst="rect">
            <a:avLst/>
          </a:prstGeom>
        </p:spPr>
        <p:txBody>
          <a:bodyPr lIns="0"/>
          <a:lstStyle>
            <a:defPPr>
              <a:defRPr lang="en-AE"/>
            </a:defPPr>
            <a:lvl1pPr marL="0" algn="ctr" defTabSz="415869" rtl="1" eaLnBrk="1" latinLnBrk="0" hangingPunct="1">
              <a:defRPr lang="en-US" sz="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07935" algn="r" defTabSz="415869" rtl="1" eaLnBrk="1" latinLnBrk="0" hangingPunct="1">
              <a:defRPr sz="8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5869" algn="r" defTabSz="415869" rtl="1" eaLnBrk="1" latinLnBrk="0" hangingPunct="1">
              <a:defRPr sz="8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3804" algn="r" defTabSz="415869" rtl="1" eaLnBrk="1" latinLnBrk="0" hangingPunct="1">
              <a:defRPr sz="8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31738" algn="r" defTabSz="415869" rtl="1" eaLnBrk="1" latinLnBrk="0" hangingPunct="1">
              <a:defRPr sz="8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39673" algn="r" defTabSz="415869" rtl="1" eaLnBrk="1" latinLnBrk="0" hangingPunct="1">
              <a:defRPr sz="8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47607" algn="r" defTabSz="415869" rtl="1" eaLnBrk="1" latinLnBrk="0" hangingPunct="1">
              <a:defRPr sz="8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5542" algn="r" defTabSz="415869" rtl="1" eaLnBrk="1" latinLnBrk="0" hangingPunct="1">
              <a:defRPr sz="8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63476" algn="r" defTabSz="415869" rtl="1" eaLnBrk="1" latinLnBrk="0" hangingPunct="1">
              <a:defRPr sz="8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1453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3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3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4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8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9" grpId="0" animBg="1"/>
      <p:bldP spid="21" grpId="0" animBg="1"/>
      <p:bldP spid="25" grpId="0" animBg="1"/>
      <p:bldP spid="27" grpId="0" animBg="1"/>
      <p:bldP spid="30" grpId="0" animBg="1"/>
      <p:bldP spid="35" grpId="0" animBg="1"/>
      <p:bldP spid="36" grpId="0" animBg="1"/>
      <p:bldP spid="37" grpId="0" animBg="1"/>
      <p:bldP spid="3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A2AC93CF-3751-074D-829B-F90DBB35D3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049" y="274638"/>
            <a:ext cx="8100772" cy="274637"/>
          </a:xfrm>
        </p:spPr>
        <p:txBody>
          <a:bodyPr/>
          <a:lstStyle/>
          <a:p>
            <a:r>
              <a:rPr lang="ar-sa" dirty="0">
                <a:latin typeface="Sakkal Majalla" panose="02000000000000000000" pitchFamily="2" charset="-78"/>
                <a:cs typeface="Sakkal Majalla" panose="02000000000000000000" pitchFamily="2" charset="-78"/>
              </a:rPr>
              <a:t>رحلة تطوّر التكنولوجيا ومستقبلها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95D6743-CCC8-E498-1D57-3E806129E669}"/>
              </a:ext>
            </a:extLst>
          </p:cNvPr>
          <p:cNvSpPr txBox="1"/>
          <p:nvPr/>
        </p:nvSpPr>
        <p:spPr>
          <a:xfrm>
            <a:off x="7834565" y="683079"/>
            <a:ext cx="899605" cy="307777"/>
          </a:xfrm>
          <a:prstGeom prst="rect">
            <a:avLst/>
          </a:prstGeom>
          <a:gradFill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</a:gradFill>
        </p:spPr>
        <p:txBody>
          <a:bodyPr wrap="none" rtlCol="0">
            <a:spAutoFit/>
          </a:bodyPr>
          <a:lstStyle/>
          <a:p>
            <a:r>
              <a:rPr lang="ar-sa" sz="1400" b="1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لعصر الرقمي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2303D02-03D2-5023-5004-9E1A378171A0}"/>
              </a:ext>
            </a:extLst>
          </p:cNvPr>
          <p:cNvSpPr txBox="1"/>
          <p:nvPr/>
        </p:nvSpPr>
        <p:spPr>
          <a:xfrm>
            <a:off x="2364304" y="847357"/>
            <a:ext cx="1604216" cy="307777"/>
          </a:xfrm>
          <a:prstGeom prst="rect">
            <a:avLst/>
          </a:prstGeom>
          <a:gradFill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</a:gradFill>
        </p:spPr>
        <p:txBody>
          <a:bodyPr wrap="square" rtlCol="0">
            <a:spAutoFit/>
          </a:bodyPr>
          <a:lstStyle/>
          <a:p>
            <a:pPr algn="ctr"/>
            <a:r>
              <a:rPr lang="ar-sa" sz="1400" b="1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عصر الذكاء</a:t>
            </a:r>
          </a:p>
        </p:txBody>
      </p:sp>
      <p:pic>
        <p:nvPicPr>
          <p:cNvPr id="15" name="Picture 14" descr="A person holding a tablet&#10;&#10;AI-generated content may be incorrect.">
            <a:extLst>
              <a:ext uri="{FF2B5EF4-FFF2-40B4-BE49-F238E27FC236}">
                <a16:creationId xmlns:a16="http://schemas.microsoft.com/office/drawing/2014/main" id="{97EB747F-55D2-021D-50E0-610C2676452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7133568" y="1051133"/>
            <a:ext cx="1719368" cy="1144195"/>
          </a:xfrm>
          <a:prstGeom prst="rect">
            <a:avLst/>
          </a:prstGeom>
        </p:spPr>
      </p:pic>
      <p:pic>
        <p:nvPicPr>
          <p:cNvPr id="18" name="Picture 17" descr="A close up of a camera&#10;&#10;AI-generated content may be incorrect.">
            <a:extLst>
              <a:ext uri="{FF2B5EF4-FFF2-40B4-BE49-F238E27FC236}">
                <a16:creationId xmlns:a16="http://schemas.microsoft.com/office/drawing/2014/main" id="{E00D50B8-CD0E-23A9-42D4-629A51E4B6FE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>
            <a:off x="7163555" y="2236464"/>
            <a:ext cx="1716460" cy="1144194"/>
          </a:xfrm>
          <a:prstGeom prst="rect">
            <a:avLst/>
          </a:prstGeom>
        </p:spPr>
      </p:pic>
      <p:pic>
        <p:nvPicPr>
          <p:cNvPr id="20" name="Picture 19" descr="A robot vacuum cleaner on a table&#10;&#10;AI-generated content may be incorrect.">
            <a:extLst>
              <a:ext uri="{FF2B5EF4-FFF2-40B4-BE49-F238E27FC236}">
                <a16:creationId xmlns:a16="http://schemas.microsoft.com/office/drawing/2014/main" id="{C20088F5-CE4F-EDB0-E489-7B9B6E89EFB1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9"/>
              </a:ext>
            </a:extLst>
          </a:blip>
          <a:srcRect/>
          <a:stretch/>
        </p:blipFill>
        <p:spPr>
          <a:xfrm>
            <a:off x="4714325" y="860291"/>
            <a:ext cx="2182641" cy="1592147"/>
          </a:xfrm>
          <a:prstGeom prst="rect">
            <a:avLst/>
          </a:prstGeom>
        </p:spPr>
      </p:pic>
      <p:pic>
        <p:nvPicPr>
          <p:cNvPr id="23" name="Picture 22" descr="A computer and pen on a table&#10;&#10;AI-generated content may be incorrect.">
            <a:extLst>
              <a:ext uri="{FF2B5EF4-FFF2-40B4-BE49-F238E27FC236}">
                <a16:creationId xmlns:a16="http://schemas.microsoft.com/office/drawing/2014/main" id="{068BC1A5-EB49-091B-3A2A-39519608A5A7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11"/>
              </a:ext>
            </a:extLst>
          </a:blip>
          <a:stretch>
            <a:fillRect/>
          </a:stretch>
        </p:blipFill>
        <p:spPr>
          <a:xfrm>
            <a:off x="4734697" y="2573482"/>
            <a:ext cx="2162269" cy="1432011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BC81AC04-B334-85AA-6D9B-28C5E7FF9F43}"/>
              </a:ext>
            </a:extLst>
          </p:cNvPr>
          <p:cNvSpPr txBox="1"/>
          <p:nvPr/>
        </p:nvSpPr>
        <p:spPr>
          <a:xfrm>
            <a:off x="3134552" y="1432439"/>
            <a:ext cx="140840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r-sa" sz="280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 الذكاء الاصطناعي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F4CA33B8-1936-FF60-3F70-DEE890B47D11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3555" y="3442081"/>
            <a:ext cx="1719368" cy="766775"/>
          </a:xfrm>
          <a:prstGeom prst="rect">
            <a:avLst/>
          </a:prstGeom>
        </p:spPr>
      </p:pic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13916774-2917-5BB2-4BF4-47C55881FADF}"/>
              </a:ext>
            </a:extLst>
          </p:cNvPr>
          <p:cNvCxnSpPr>
            <a:cxnSpLocks/>
          </p:cNvCxnSpPr>
          <p:nvPr/>
        </p:nvCxnSpPr>
        <p:spPr>
          <a:xfrm>
            <a:off x="4649932" y="916351"/>
            <a:ext cx="0" cy="3990929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7A28D4FE-DCFA-098A-A63A-1F7C2E162E18}"/>
              </a:ext>
            </a:extLst>
          </p:cNvPr>
          <p:cNvSpPr txBox="1"/>
          <p:nvPr/>
        </p:nvSpPr>
        <p:spPr>
          <a:xfrm>
            <a:off x="3401399" y="3058656"/>
            <a:ext cx="110479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ar-sa" sz="240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ماذا أيضاً؟</a:t>
            </a:r>
          </a:p>
        </p:txBody>
      </p:sp>
      <p:pic>
        <p:nvPicPr>
          <p:cNvPr id="34" name="Picture 33" descr="A network of blue dots and lines&#10;&#10;AI-generated content may be incorrect.">
            <a:extLst>
              <a:ext uri="{FF2B5EF4-FFF2-40B4-BE49-F238E27FC236}">
                <a16:creationId xmlns:a16="http://schemas.microsoft.com/office/drawing/2014/main" id="{B1BA06F8-DB60-FF8B-5DA9-72CAFB886CC9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14"/>
              </a:ext>
            </a:extLst>
          </a:blip>
          <a:stretch>
            <a:fillRect/>
          </a:stretch>
        </p:blipFill>
        <p:spPr>
          <a:xfrm>
            <a:off x="155865" y="1748887"/>
            <a:ext cx="3131242" cy="2016136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405F7F-F78F-4392-8456-1B79D2DEAAA5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43265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24" grpId="0"/>
      <p:bldP spid="3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A2A717-1953-D9F2-93B3-DEFA3D6C6E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0C269AC5-718A-38D8-1945-51531EABA673}"/>
              </a:ext>
            </a:extLst>
          </p:cNvPr>
          <p:cNvSpPr/>
          <p:nvPr/>
        </p:nvSpPr>
        <p:spPr>
          <a:xfrm>
            <a:off x="1336039" y="2915052"/>
            <a:ext cx="6471920" cy="41033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5969F81-7965-8348-9D25-70F4C18B10B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295043" y="987192"/>
            <a:ext cx="6553913" cy="2981156"/>
          </a:xfrm>
        </p:spPr>
        <p:txBody>
          <a:bodyPr/>
          <a:lstStyle/>
          <a:p>
            <a:pPr algn="ctr"/>
            <a:r>
              <a:rPr lang="ar-sa" sz="32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ما أثر التكنولوجيا على مهن آبائكم وأجدادكم؟</a:t>
            </a:r>
          </a:p>
          <a:p>
            <a:pPr algn="ctr"/>
            <a:r>
              <a:rPr lang="ar-sa" sz="20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 تبادلوا الحوار مع زملائكم، ثم قدّموا ما توصّلتم إليه أمام الصف.</a:t>
            </a:r>
          </a:p>
          <a:p>
            <a:pPr algn="ctr"/>
            <a:r>
              <a:rPr lang="ar-sa" sz="20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br>
              <a:rPr lang="ar-sa" sz="2000" dirty="0">
                <a:latin typeface="Sakkal Majalla" panose="02000000000000000000" pitchFamily="2" charset="-78"/>
                <a:cs typeface="Sakkal Majalla" panose="02000000000000000000" pitchFamily="2" charset="-78"/>
              </a:rPr>
            </a:br>
            <a:endParaRPr lang="ar-sa" sz="2000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3" name="Graphic 2" descr="Hourglass 30% outline">
            <a:extLst>
              <a:ext uri="{FF2B5EF4-FFF2-40B4-BE49-F238E27FC236}">
                <a16:creationId xmlns:a16="http://schemas.microsoft.com/office/drawing/2014/main" id="{67C4FAC3-A201-504A-C3CE-5D3E87BC25F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109544" y="3601186"/>
            <a:ext cx="469233" cy="46923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D1FBCBF-181A-56F7-F200-A32E7B28C6A7}"/>
              </a:ext>
            </a:extLst>
          </p:cNvPr>
          <p:cNvSpPr txBox="1"/>
          <p:nvPr/>
        </p:nvSpPr>
        <p:spPr>
          <a:xfrm>
            <a:off x="3550920" y="3650052"/>
            <a:ext cx="23088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ar-sa" sz="180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5 دقائق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B873780-4D2B-4281-9962-24E9CF409A82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4757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84676C6-DAE1-629A-BF5A-2F79B049CE71}"/>
              </a:ext>
            </a:extLst>
          </p:cNvPr>
          <p:cNvSpPr/>
          <p:nvPr/>
        </p:nvSpPr>
        <p:spPr>
          <a:xfrm>
            <a:off x="7647710" y="1800825"/>
            <a:ext cx="1122680" cy="494223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OM" sz="3600" dirty="0">
                <a:solidFill>
                  <a:schemeClr val="bg1"/>
                </a:solidFill>
              </a:rPr>
              <a:t>العيش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C5F05E55-7581-2B99-25BA-B9A5BE117A48}"/>
              </a:ext>
            </a:extLst>
          </p:cNvPr>
          <p:cNvSpPr/>
          <p:nvPr/>
        </p:nvSpPr>
        <p:spPr>
          <a:xfrm>
            <a:off x="7342910" y="2478031"/>
            <a:ext cx="1427480" cy="494223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OM" sz="3600" dirty="0">
                <a:solidFill>
                  <a:schemeClr val="bg1"/>
                </a:solidFill>
              </a:rPr>
              <a:t>التعلم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7F1397F6-1613-CF86-C6D6-AF5699D4E232}"/>
              </a:ext>
            </a:extLst>
          </p:cNvPr>
          <p:cNvSpPr/>
          <p:nvPr/>
        </p:nvSpPr>
        <p:spPr>
          <a:xfrm>
            <a:off x="6423430" y="3155237"/>
            <a:ext cx="2346960" cy="494223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OM" sz="3600" dirty="0">
                <a:solidFill>
                  <a:schemeClr val="bg1"/>
                </a:solidFill>
              </a:rPr>
              <a:t>العمل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94826CC-F51C-841D-4884-B18B24D9E21D}"/>
              </a:ext>
            </a:extLst>
          </p:cNvPr>
          <p:cNvSpPr/>
          <p:nvPr/>
        </p:nvSpPr>
        <p:spPr>
          <a:xfrm>
            <a:off x="777240" y="2321560"/>
            <a:ext cx="3408680" cy="312943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92A2459-9424-9F31-3898-4C9CC2E7A8A9}"/>
              </a:ext>
            </a:extLst>
          </p:cNvPr>
          <p:cNvSpPr txBox="1"/>
          <p:nvPr/>
        </p:nvSpPr>
        <p:spPr>
          <a:xfrm>
            <a:off x="716280" y="914390"/>
            <a:ext cx="3530600" cy="3693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>
              <a:buFont typeface="Arial" panose="020B0604020202020204" pitchFamily="34" charset="0"/>
              <a:buNone/>
            </a:pPr>
            <a:r>
              <a:rPr lang="ar-OM" sz="1800" b="1" dirty="0">
                <a:solidFill>
                  <a:schemeClr val="bg1"/>
                </a:solidFill>
              </a:rPr>
              <a:t>التكنولوجيا متأصلة في حياتنا اليومية، من الأجهزة الذكية في المنزل إلى الأدوات الرقمية في العمل.</a:t>
            </a:r>
            <a:endParaRPr lang="en-US" sz="1800" b="1" dirty="0">
              <a:solidFill>
                <a:schemeClr val="bg1"/>
              </a:solidFill>
            </a:endParaRPr>
          </a:p>
          <a:p>
            <a:pPr marL="0" lvl="1" indent="0">
              <a:buFont typeface="Arial" panose="020B0604020202020204" pitchFamily="34" charset="0"/>
              <a:buNone/>
            </a:pPr>
            <a:endParaRPr lang="ar-OM" sz="1800" b="1" dirty="0">
              <a:solidFill>
                <a:schemeClr val="bg1"/>
              </a:solidFill>
            </a:endParaRPr>
          </a:p>
          <a:p>
            <a:pPr marL="0" lvl="1" indent="0">
              <a:buFont typeface="Arial" panose="020B0604020202020204" pitchFamily="34" charset="0"/>
              <a:buNone/>
            </a:pPr>
            <a:endParaRPr lang="ar-OM" sz="1800" b="1" dirty="0">
              <a:solidFill>
                <a:schemeClr val="bg1"/>
              </a:solidFill>
            </a:endParaRPr>
          </a:p>
          <a:p>
            <a:pPr marL="0" lvl="1" indent="0">
              <a:buFont typeface="Arial" panose="020B0604020202020204" pitchFamily="34" charset="0"/>
              <a:buNone/>
            </a:pPr>
            <a:r>
              <a:rPr lang="ar-OM" sz="1800" b="1" dirty="0">
                <a:solidFill>
                  <a:schemeClr val="bg1"/>
                </a:solidFill>
              </a:rPr>
              <a:t>التكنولوجيا في كل مكان:</a:t>
            </a:r>
            <a:endParaRPr lang="en-US" sz="1800" b="1" dirty="0">
              <a:solidFill>
                <a:schemeClr val="bg1"/>
              </a:solidFill>
            </a:endParaRPr>
          </a:p>
          <a:p>
            <a:pPr marL="0" lvl="1" indent="0">
              <a:buFont typeface="Arial" panose="020B0604020202020204" pitchFamily="34" charset="0"/>
              <a:buNone/>
            </a:pPr>
            <a:r>
              <a:rPr lang="ar-OM" sz="1800" b="1" dirty="0">
                <a:solidFill>
                  <a:schemeClr val="bg1"/>
                </a:solidFill>
              </a:rPr>
              <a:t>البناء</a:t>
            </a:r>
            <a:endParaRPr lang="en-US" sz="1800" b="1" dirty="0">
              <a:solidFill>
                <a:schemeClr val="bg1"/>
              </a:solidFill>
            </a:endParaRPr>
          </a:p>
          <a:p>
            <a:pPr marL="0" lvl="1" indent="0">
              <a:buFont typeface="Arial" panose="020B0604020202020204" pitchFamily="34" charset="0"/>
              <a:buNone/>
            </a:pPr>
            <a:r>
              <a:rPr lang="ar-OM" sz="1800" b="1" dirty="0">
                <a:solidFill>
                  <a:schemeClr val="bg1"/>
                </a:solidFill>
              </a:rPr>
              <a:t>الزراعة</a:t>
            </a:r>
            <a:endParaRPr lang="en-US" sz="1800" b="1" dirty="0">
              <a:solidFill>
                <a:schemeClr val="bg1"/>
              </a:solidFill>
            </a:endParaRPr>
          </a:p>
          <a:p>
            <a:pPr marL="0" lvl="1" indent="0">
              <a:buFont typeface="Arial" panose="020B0604020202020204" pitchFamily="34" charset="0"/>
              <a:buNone/>
            </a:pPr>
            <a:r>
              <a:rPr lang="ar-OM" sz="1800" b="1" dirty="0">
                <a:solidFill>
                  <a:schemeClr val="bg1"/>
                </a:solidFill>
              </a:rPr>
              <a:t>انتاج الغذاء</a:t>
            </a:r>
            <a:endParaRPr lang="en-US" sz="1800" b="1" dirty="0">
              <a:solidFill>
                <a:schemeClr val="bg1"/>
              </a:solidFill>
            </a:endParaRPr>
          </a:p>
          <a:p>
            <a:pPr marL="0" lvl="1" indent="0">
              <a:buFont typeface="Arial" panose="020B0604020202020204" pitchFamily="34" charset="0"/>
              <a:buNone/>
            </a:pPr>
            <a:r>
              <a:rPr lang="ar-OM" sz="1800" b="1" dirty="0">
                <a:solidFill>
                  <a:schemeClr val="bg1"/>
                </a:solidFill>
              </a:rPr>
              <a:t>المواصلات</a:t>
            </a:r>
            <a:endParaRPr lang="en-US" sz="1800" b="1" dirty="0">
              <a:solidFill>
                <a:schemeClr val="bg1"/>
              </a:solidFill>
            </a:endParaRPr>
          </a:p>
          <a:p>
            <a:pPr marL="0" lvl="1" indent="0">
              <a:buFont typeface="Arial" panose="020B0604020202020204" pitchFamily="34" charset="0"/>
              <a:buNone/>
            </a:pPr>
            <a:r>
              <a:rPr lang="ar-OM" sz="1800" b="1" dirty="0">
                <a:solidFill>
                  <a:schemeClr val="bg1"/>
                </a:solidFill>
              </a:rPr>
              <a:t>التعليم</a:t>
            </a:r>
            <a:endParaRPr lang="en-US" sz="1800" b="1" dirty="0">
              <a:solidFill>
                <a:schemeClr val="bg1"/>
              </a:solidFill>
            </a:endParaRPr>
          </a:p>
          <a:p>
            <a:pPr marL="0" lvl="1" indent="0">
              <a:buFont typeface="Arial" panose="020B0604020202020204" pitchFamily="34" charset="0"/>
              <a:buNone/>
            </a:pPr>
            <a:r>
              <a:rPr lang="ar-OM" sz="1800" b="1" dirty="0">
                <a:solidFill>
                  <a:schemeClr val="bg1"/>
                </a:solidFill>
              </a:rPr>
              <a:t>و الكثير....</a:t>
            </a:r>
            <a:endParaRPr lang="en-US" sz="1800" b="1" dirty="0">
              <a:solidFill>
                <a:schemeClr val="bg1"/>
              </a:solidFill>
            </a:endParaRPr>
          </a:p>
          <a:p>
            <a:pPr marL="0" lvl="1" indent="0">
              <a:buFont typeface="Arial" panose="020B0604020202020204" pitchFamily="34" charset="0"/>
              <a:buNone/>
            </a:pPr>
            <a:endParaRPr lang="en-US" sz="1800" b="1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78DCAC8-C033-47B2-EA1F-72A9CB9776F0}"/>
              </a:ext>
            </a:extLst>
          </p:cNvPr>
          <p:cNvSpPr txBox="1"/>
          <p:nvPr/>
        </p:nvSpPr>
        <p:spPr>
          <a:xfrm>
            <a:off x="4502727" y="863590"/>
            <a:ext cx="440759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>
              <a:buFont typeface="Arial" panose="020B0604020202020204" pitchFamily="34" charset="0"/>
              <a:buNone/>
            </a:pPr>
            <a:r>
              <a:rPr lang="ar-OM" sz="3600" b="1" dirty="0">
                <a:solidFill>
                  <a:schemeClr val="bg1"/>
                </a:solidFill>
              </a:rPr>
              <a:t>التكنولوجيا تغير طريقتنا في: </a:t>
            </a:r>
            <a:endParaRPr lang="en-US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81792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956EAA1-DDB2-CEFB-944E-A02F4FE41E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809" y="1788478"/>
            <a:ext cx="7783831" cy="1208722"/>
          </a:xfrm>
        </p:spPr>
        <p:txBody>
          <a:bodyPr/>
          <a:lstStyle/>
          <a:p>
            <a:r>
              <a:rPr lang="ar-OM" sz="4000" dirty="0"/>
              <a:t>كيف تَخيَّل الناس في الماضي المستقبل؟</a:t>
            </a:r>
            <a:endParaRPr lang="en-US" sz="40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971F32B-02F0-AB5A-6B16-982C639727E7}"/>
              </a:ext>
            </a:extLst>
          </p:cNvPr>
          <p:cNvSpPr txBox="1"/>
          <p:nvPr/>
        </p:nvSpPr>
        <p:spPr>
          <a:xfrm>
            <a:off x="5173468" y="2658646"/>
            <a:ext cx="30909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OM" sz="1600" b="1" dirty="0">
                <a:solidFill>
                  <a:schemeClr val="bg1"/>
                </a:solidFill>
              </a:rPr>
              <a:t>خمن التكنولوجيا في مجموعة الصور الآتية </a:t>
            </a: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01104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82CCA1C-FE6C-85A5-843E-0ACAD3AF7B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r-sa">
                <a:latin typeface="Sakkal Majalla" panose="02000000000000000000" pitchFamily="2" charset="-78"/>
                <a:cs typeface="Sakkal Majalla" panose="02000000000000000000" pitchFamily="2" charset="-78"/>
              </a:rPr>
              <a:t>كيف تخيّل الناس في أربعينيات القرن الماضي مستقبل توصيل الطعام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0C3E40E2-4007-BFDD-009D-1A1F095152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1864" y="865768"/>
            <a:ext cx="6890536" cy="3809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ED304C-6C70-460F-9D33-1182F26B0216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z="800" dirty="0">
                <a:solidFill>
                  <a:srgbClr val="4472C4"/>
                </a:solidFill>
              </a:rPr>
              <a:t> </a:t>
            </a:r>
            <a:endParaRPr lang="en-US" sz="800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69644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RESTRICTED "/>
  <p:tag name="BJHEADERFOOTERTEXTMARKING" val="RESTRICTED "/>
</p:tagLst>
</file>

<file path=ppt/theme/theme1.xml><?xml version="1.0" encoding="utf-8"?>
<a:theme xmlns:a="http://schemas.openxmlformats.org/drawingml/2006/main" name="Title Slides">
  <a:themeElements>
    <a:clrScheme name="TII">
      <a:dk1>
        <a:srgbClr val="253746"/>
      </a:dk1>
      <a:lt1>
        <a:sysClr val="window" lastClr="FFFFFF"/>
      </a:lt1>
      <a:dk2>
        <a:srgbClr val="253746"/>
      </a:dk2>
      <a:lt2>
        <a:srgbClr val="FFFFFF"/>
      </a:lt2>
      <a:accent1>
        <a:srgbClr val="6400FF"/>
      </a:accent1>
      <a:accent2>
        <a:srgbClr val="233746"/>
      </a:accent2>
      <a:accent3>
        <a:srgbClr val="75787B"/>
      </a:accent3>
      <a:accent4>
        <a:srgbClr val="00C389"/>
      </a:accent4>
      <a:accent5>
        <a:srgbClr val="A4BCC2"/>
      </a:accent5>
      <a:accent6>
        <a:srgbClr val="9678D3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Arial"/>
      </a:majorFont>
      <a:minorFont>
        <a:latin typeface="Arial" panose="020B0604020202020204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TRC_Short PPT Template_condensed" id="{512B0EF9-82C7-4434-B8E6-65D5AAC56777}" vid="{A4689E98-AAC9-400E-AEBD-1914C958F184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Arial"/>
      </a:majorFont>
      <a:minorFont>
        <a:latin typeface="Arial" panose="020F0502020204030204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Arial"/>
      </a:majorFont>
      <a:minorFont>
        <a:latin typeface="Arial" panose="020F0502020204030204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ivider Slides">
  <a:themeElements>
    <a:clrScheme name="TII">
      <a:dk1>
        <a:srgbClr val="253746"/>
      </a:dk1>
      <a:lt1>
        <a:sysClr val="window" lastClr="FFFFFF"/>
      </a:lt1>
      <a:dk2>
        <a:srgbClr val="253746"/>
      </a:dk2>
      <a:lt2>
        <a:srgbClr val="FFFFFF"/>
      </a:lt2>
      <a:accent1>
        <a:srgbClr val="6400FF"/>
      </a:accent1>
      <a:accent2>
        <a:srgbClr val="233746"/>
      </a:accent2>
      <a:accent3>
        <a:srgbClr val="75787B"/>
      </a:accent3>
      <a:accent4>
        <a:srgbClr val="00C389"/>
      </a:accent4>
      <a:accent5>
        <a:srgbClr val="A4BCC2"/>
      </a:accent5>
      <a:accent6>
        <a:srgbClr val="9678D3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Arial"/>
      </a:majorFont>
      <a:minorFont>
        <a:latin typeface="Arial" panose="020B0604020202020204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TRC_Short PPT Template_condensed" id="{512B0EF9-82C7-4434-B8E6-65D5AAC56777}" vid="{07BA0E60-54F4-40F0-93E3-1F0C6048B3AC}"/>
    </a:ext>
  </a:extLst>
</a:theme>
</file>

<file path=ppt/theme/theme3.xml><?xml version="1.0" encoding="utf-8"?>
<a:theme xmlns:a="http://schemas.openxmlformats.org/drawingml/2006/main" name="Agenda Slid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Arial"/>
      </a:majorFont>
      <a:minorFont>
        <a:latin typeface="Calibri" panose="020F0502020204030204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TRC_Short PPT Template_condensed" id="{512B0EF9-82C7-4434-B8E6-65D5AAC56777}" vid="{C4E53E82-4DFB-4539-AD74-75116C76BD99}"/>
    </a:ext>
  </a:extLst>
</a:theme>
</file>

<file path=ppt/theme/theme4.xml><?xml version="1.0" encoding="utf-8"?>
<a:theme xmlns:a="http://schemas.openxmlformats.org/drawingml/2006/main" name="General Content Slides">
  <a:themeElements>
    <a:clrScheme name="TII">
      <a:dk1>
        <a:srgbClr val="253746"/>
      </a:dk1>
      <a:lt1>
        <a:sysClr val="window" lastClr="FFFFFF"/>
      </a:lt1>
      <a:dk2>
        <a:srgbClr val="253746"/>
      </a:dk2>
      <a:lt2>
        <a:srgbClr val="FFFFFF"/>
      </a:lt2>
      <a:accent1>
        <a:srgbClr val="6400FF"/>
      </a:accent1>
      <a:accent2>
        <a:srgbClr val="233746"/>
      </a:accent2>
      <a:accent3>
        <a:srgbClr val="75787B"/>
      </a:accent3>
      <a:accent4>
        <a:srgbClr val="00C389"/>
      </a:accent4>
      <a:accent5>
        <a:srgbClr val="A4BCC2"/>
      </a:accent5>
      <a:accent6>
        <a:srgbClr val="9678D3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Arial"/>
      </a:majorFont>
      <a:minorFont>
        <a:latin typeface="Arial" panose="020B0604020202020204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TRC_Short PPT Template_condensed" id="{512B0EF9-82C7-4434-B8E6-65D5AAC56777}" vid="{291A8F36-5272-46ED-901C-EFC60BB50718}"/>
    </a:ext>
  </a:extLst>
</a:theme>
</file>

<file path=ppt/theme/theme5.xml><?xml version="1.0" encoding="utf-8"?>
<a:theme xmlns:a="http://schemas.openxmlformats.org/drawingml/2006/main" name="1_General Content Slides">
  <a:themeElements>
    <a:clrScheme name="TII">
      <a:dk1>
        <a:srgbClr val="253746"/>
      </a:dk1>
      <a:lt1>
        <a:sysClr val="window" lastClr="FFFFFF"/>
      </a:lt1>
      <a:dk2>
        <a:srgbClr val="253746"/>
      </a:dk2>
      <a:lt2>
        <a:srgbClr val="FFFFFF"/>
      </a:lt2>
      <a:accent1>
        <a:srgbClr val="6400FF"/>
      </a:accent1>
      <a:accent2>
        <a:srgbClr val="233746"/>
      </a:accent2>
      <a:accent3>
        <a:srgbClr val="75787B"/>
      </a:accent3>
      <a:accent4>
        <a:srgbClr val="00C389"/>
      </a:accent4>
      <a:accent5>
        <a:srgbClr val="A4BCC2"/>
      </a:accent5>
      <a:accent6>
        <a:srgbClr val="9678D3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Arial"/>
      </a:majorFont>
      <a:minorFont>
        <a:latin typeface="Arial" panose="020B0604020202020204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TRC_Short PPT Template_condensed" id="{512B0EF9-82C7-4434-B8E6-65D5AAC56777}" vid="{291A8F36-5272-46ED-901C-EFC60BB50718}"/>
    </a:ext>
  </a:extLst>
</a:theme>
</file>

<file path=ppt/theme/theme6.xml><?xml version="1.0" encoding="utf-8"?>
<a:theme xmlns:a="http://schemas.openxmlformats.org/drawingml/2006/main" name="Image Slides">
  <a:themeElements>
    <a:clrScheme name="TII">
      <a:dk1>
        <a:srgbClr val="253746"/>
      </a:dk1>
      <a:lt1>
        <a:sysClr val="window" lastClr="FFFFFF"/>
      </a:lt1>
      <a:dk2>
        <a:srgbClr val="253746"/>
      </a:dk2>
      <a:lt2>
        <a:srgbClr val="FFFFFF"/>
      </a:lt2>
      <a:accent1>
        <a:srgbClr val="6400FF"/>
      </a:accent1>
      <a:accent2>
        <a:srgbClr val="233746"/>
      </a:accent2>
      <a:accent3>
        <a:srgbClr val="75787B"/>
      </a:accent3>
      <a:accent4>
        <a:srgbClr val="00C389"/>
      </a:accent4>
      <a:accent5>
        <a:srgbClr val="A4BCC2"/>
      </a:accent5>
      <a:accent6>
        <a:srgbClr val="9678D3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Arial"/>
      </a:majorFont>
      <a:minorFont>
        <a:latin typeface="Arial" panose="020B0604020202020204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TRC_Short PPT Template_condensed" id="{512B0EF9-82C7-4434-B8E6-65D5AAC56777}" vid="{950E3E0E-D703-4AF1-A2F0-CB856E086DD6}"/>
    </a:ext>
  </a:extLst>
</a:theme>
</file>

<file path=ppt/theme/theme7.xml><?xml version="1.0" encoding="utf-8"?>
<a:theme xmlns:a="http://schemas.openxmlformats.org/drawingml/2006/main" name="Graph / Chart Slides">
  <a:themeElements>
    <a:clrScheme name="TII">
      <a:dk1>
        <a:srgbClr val="253746"/>
      </a:dk1>
      <a:lt1>
        <a:sysClr val="window" lastClr="FFFFFF"/>
      </a:lt1>
      <a:dk2>
        <a:srgbClr val="253746"/>
      </a:dk2>
      <a:lt2>
        <a:srgbClr val="FFFFFF"/>
      </a:lt2>
      <a:accent1>
        <a:srgbClr val="6400FF"/>
      </a:accent1>
      <a:accent2>
        <a:srgbClr val="233746"/>
      </a:accent2>
      <a:accent3>
        <a:srgbClr val="75787B"/>
      </a:accent3>
      <a:accent4>
        <a:srgbClr val="00C389"/>
      </a:accent4>
      <a:accent5>
        <a:srgbClr val="A4BCC2"/>
      </a:accent5>
      <a:accent6>
        <a:srgbClr val="9678D3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Arial"/>
      </a:majorFont>
      <a:minorFont>
        <a:latin typeface="Arial" panose="020B0604020202020204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TRC_Short PPT Template_condensed" id="{512B0EF9-82C7-4434-B8E6-65D5AAC56777}" vid="{CBA12555-FB9F-4DB7-9EFB-1A6D1D3C232D}"/>
    </a:ext>
  </a:extLst>
</a:theme>
</file>

<file path=ppt/theme/theme8.xml><?xml version="1.0" encoding="utf-8"?>
<a:theme xmlns:a="http://schemas.openxmlformats.org/drawingml/2006/main" name="2_General Content Slides">
  <a:themeElements>
    <a:clrScheme name="TII">
      <a:dk1>
        <a:srgbClr val="253746"/>
      </a:dk1>
      <a:lt1>
        <a:sysClr val="window" lastClr="FFFFFF"/>
      </a:lt1>
      <a:dk2>
        <a:srgbClr val="253746"/>
      </a:dk2>
      <a:lt2>
        <a:srgbClr val="FFFFFF"/>
      </a:lt2>
      <a:accent1>
        <a:srgbClr val="6400FF"/>
      </a:accent1>
      <a:accent2>
        <a:srgbClr val="233746"/>
      </a:accent2>
      <a:accent3>
        <a:srgbClr val="75787B"/>
      </a:accent3>
      <a:accent4>
        <a:srgbClr val="00C389"/>
      </a:accent4>
      <a:accent5>
        <a:srgbClr val="A4BCC2"/>
      </a:accent5>
      <a:accent6>
        <a:srgbClr val="9678D3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TRC_Short PPT Template_condensed" id="{512B0EF9-82C7-4434-B8E6-65D5AAC56777}" vid="{291A8F36-5272-46ED-901C-EFC60BB50718}"/>
    </a:ext>
  </a:extLst>
</a:theme>
</file>

<file path=ppt/theme/theme9.xml><?xml version="1.0" encoding="utf-8"?>
<a:theme xmlns:a="http://schemas.openxmlformats.org/drawingml/2006/main" name="3_General Content Slides">
  <a:themeElements>
    <a:clrScheme name="TII">
      <a:dk1>
        <a:srgbClr val="253746"/>
      </a:dk1>
      <a:lt1>
        <a:sysClr val="window" lastClr="FFFFFF"/>
      </a:lt1>
      <a:dk2>
        <a:srgbClr val="253746"/>
      </a:dk2>
      <a:lt2>
        <a:srgbClr val="FFFFFF"/>
      </a:lt2>
      <a:accent1>
        <a:srgbClr val="6400FF"/>
      </a:accent1>
      <a:accent2>
        <a:srgbClr val="233746"/>
      </a:accent2>
      <a:accent3>
        <a:srgbClr val="75787B"/>
      </a:accent3>
      <a:accent4>
        <a:srgbClr val="00C389"/>
      </a:accent4>
      <a:accent5>
        <a:srgbClr val="A4BCC2"/>
      </a:accent5>
      <a:accent6>
        <a:srgbClr val="9678D3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TRC_Short PPT Template_condensed" id="{512B0EF9-82C7-4434-B8E6-65D5AAC56777}" vid="{291A8F36-5272-46ED-901C-EFC60BB50718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2FAB7A6DAC35846ACC527F85FDC6807" ma:contentTypeVersion="17" ma:contentTypeDescription="Create a new document." ma:contentTypeScope="" ma:versionID="f647c91019fd3000bf0d471d0bd6dab6">
  <xsd:schema xmlns:xsd="http://www.w3.org/2001/XMLSchema" xmlns:xs="http://www.w3.org/2001/XMLSchema" xmlns:p="http://schemas.microsoft.com/office/2006/metadata/properties" xmlns:ns2="6a195a15-765e-4720-b650-37e3a0bd4a9e" xmlns:ns3="e99cc2f7-2bb2-48f0-b573-096cb0458afb" targetNamespace="http://schemas.microsoft.com/office/2006/metadata/properties" ma:root="true" ma:fieldsID="508b02d63e97a6ffc9f9a786eb331399" ns2:_="" ns3:_="">
    <xsd:import namespace="6a195a15-765e-4720-b650-37e3a0bd4a9e"/>
    <xsd:import namespace="e99cc2f7-2bb2-48f0-b573-096cb0458af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ObjectDetectorVersions" minOccurs="0"/>
                <xsd:element ref="ns2:Open_x0020_with_x0020_Seclore" minOccurs="0"/>
                <xsd:element ref="ns2:MediaLengthInSeconds" minOccurs="0"/>
                <xsd:element ref="ns2:MediaServiceSearchProperties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a195a15-765e-4720-b650-37e3a0bd4a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1da2b078-8700-4205-b40f-bd5c9f5457e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Open_x0020_with_x0020_Seclore" ma:index="20" nillable="true" ma:displayName="Open with Seclore" ma:hidden="true" ma:internalName="Open_x0020_with_x0020_Seclor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4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9cc2f7-2bb2-48f0-b573-096cb0458afb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7f3702cb-f5a8-4a29-90c9-23b4161e1ee5}" ma:internalName="TaxCatchAll" ma:showField="CatchAllData" ma:web="e99cc2f7-2bb2-48f0-b573-096cb0458af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WrappedLabelHistory xmlns:xsd="http://www.w3.org/2001/XMLSchema" xmlns:xsi="http://www.w3.org/2001/XMLSchema-instance" xmlns="http://www.boldonjames.com/2016/02/Classifier/internal/wrappedLabelHistory">
  <Value>PD94bWwgdmVyc2lvbj0iMS4wIiBlbmNvZGluZz0idXMtYXNjaWkiPz48bGFiZWxIaXN0b3J5IHhtbG5zOnhzZD0iaHR0cDovL3d3dy53My5vcmcvMjAwMS9YTUxTY2hlbWEiIHhtbG5zOnhzaT0iaHR0cDovL3d3dy53My5vcmcvMjAwMS9YTUxTY2hlbWEtaW5zdGFuY2UiIHhtbG5zPSJodHRwOi8vd3d3LmJvbGRvbmphbWVzLmNvbS8yMDE2LzAyL0NsYXNzaWZpZXIvaW50ZXJuYWwvbGFiZWxIaXN0b3J5Ij48aXRlbT48c2lzbCBzaXNsVmVyc2lvbj0iMCIgcG9saWN5PSIwZmUwMjRiYS0zZGYxLTQ2N2QtYTJkZC02NTQzMjc1YThmOWYiIG9yaWdpbj0idXNlclNlbGVjdGVkIj48ZWxlbWVudCB1aWQ9ImlkX2NsYXNzaWZpY2F0aW9uX2dlbmVyYWxidXNpbmVzcyIgdmFsdWU9IiIgeG1sbnM9Imh0dHA6Ly93d3cuYm9sZG9uamFtZXMuY29tLzIwMDgvMDEvc2llL2ludGVybmFsL2xhYmVsIiAvPjwvc2lzbD48VXNlck5hbWU+Q09SUFxNb2hhbm5hZC5BbFF1ZGFoPC9Vc2VyTmFtZT48RGF0ZVRpbWU+MTkvMDkvMjAyNSA5OjA0OjM4IEFNPC9EYXRlVGltZT48TGFiZWxTdHJpbmc+UkVTVFJJQ1RFRCA8L0xhYmVsU3RyaW5nPjwvaXRlbT48L2xhYmVsSGlzdG9yeT4=</Value>
</WrappedLabelHistory>
</file>

<file path=customXml/item4.xml><?xml version="1.0" encoding="utf-8"?>
<sisl xmlns:xsd="http://www.w3.org/2001/XMLSchema" xmlns:xsi="http://www.w3.org/2001/XMLSchema-instance" xmlns="http://www.boldonjames.com/2008/01/sie/internal/label" sislVersion="0" policy="0fe024ba-3df1-467d-a2dd-6543275a8f9f" origin="userSelected">
  <element uid="id_classification_generalbusiness" value=""/>
</sisl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a195a15-765e-4720-b650-37e3a0bd4a9e">
      <Terms xmlns="http://schemas.microsoft.com/office/infopath/2007/PartnerControls"/>
    </lcf76f155ced4ddcb4097134ff3c332f>
    <TaxCatchAll xmlns="e99cc2f7-2bb2-48f0-b573-096cb0458afb" xsi:nil="true"/>
    <Open_x0020_with_x0020_Seclore xmlns="6a195a15-765e-4720-b650-37e3a0bd4a9e" xsi:nil="true"/>
  </documentManagement>
</p:properties>
</file>

<file path=customXml/itemProps1.xml><?xml version="1.0" encoding="utf-8"?>
<ds:datastoreItem xmlns:ds="http://schemas.openxmlformats.org/officeDocument/2006/customXml" ds:itemID="{E65D8A99-CA68-41DF-BBEE-9DD0C529444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a195a15-765e-4720-b650-37e3a0bd4a9e"/>
    <ds:schemaRef ds:uri="e99cc2f7-2bb2-48f0-b573-096cb0458af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65ECFB8-8D0F-4432-BBF5-C144347388C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353AD4B-68A5-4CA8-9965-A9742E209DDA}">
  <ds:schemaRefs>
    <ds:schemaRef ds:uri="http://www.w3.org/2001/XMLSchema"/>
    <ds:schemaRef ds:uri="http://www.boldonjames.com/2016/02/Classifier/internal/wrappedLabelHistory"/>
  </ds:schemaRefs>
</ds:datastoreItem>
</file>

<file path=customXml/itemProps4.xml><?xml version="1.0" encoding="utf-8"?>
<ds:datastoreItem xmlns:ds="http://schemas.openxmlformats.org/officeDocument/2006/customXml" ds:itemID="{7C34D9EF-FEC4-43B2-9F86-8622EF41EA00}">
  <ds:schemaRefs>
    <ds:schemaRef ds:uri="http://www.w3.org/2001/XMLSchema"/>
    <ds:schemaRef ds:uri="http://www.boldonjames.com/2008/01/sie/internal/label"/>
  </ds:schemaRefs>
</ds:datastoreItem>
</file>

<file path=customXml/itemProps5.xml><?xml version="1.0" encoding="utf-8"?>
<ds:datastoreItem xmlns:ds="http://schemas.openxmlformats.org/officeDocument/2006/customXml" ds:itemID="{4297E203-27CC-4EE7-BA81-FFE4B571C3F3}">
  <ds:schemaRefs>
    <ds:schemaRef ds:uri="http://schemas.openxmlformats.org/package/2006/metadata/core-properties"/>
    <ds:schemaRef ds:uri="http://purl.org/dc/dcmitype/"/>
    <ds:schemaRef ds:uri="http://www.w3.org/XML/1998/namespace"/>
    <ds:schemaRef ds:uri="http://schemas.microsoft.com/office/infopath/2007/PartnerControls"/>
    <ds:schemaRef ds:uri="http://purl.org/dc/terms/"/>
    <ds:schemaRef ds:uri="e99cc2f7-2bb2-48f0-b573-096cb0458afb"/>
    <ds:schemaRef ds:uri="http://schemas.microsoft.com/office/2006/documentManagement/types"/>
    <ds:schemaRef ds:uri="6a195a15-765e-4720-b650-37e3a0bd4a9e"/>
    <ds:schemaRef ds:uri="http://schemas.microsoft.com/office/2006/metadata/propertie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TRC_Short PPT Template</Template>
  <TotalTime>42438</TotalTime>
  <Words>2893</Words>
  <Application>Microsoft Office PowerPoint</Application>
  <PresentationFormat>On-screen Show (16:9)</PresentationFormat>
  <Paragraphs>504</Paragraphs>
  <Slides>38</Slides>
  <Notes>3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53" baseType="lpstr">
      <vt:lpstr>Arial</vt:lpstr>
      <vt:lpstr>Calibri</vt:lpstr>
      <vt:lpstr>Helvetica LT Pro</vt:lpstr>
      <vt:lpstr>Poppins</vt:lpstr>
      <vt:lpstr>Sakkal Majalla</vt:lpstr>
      <vt:lpstr>Title Slides</vt:lpstr>
      <vt:lpstr>Divider Slides</vt:lpstr>
      <vt:lpstr>Agenda Slides</vt:lpstr>
      <vt:lpstr>General Content Slides</vt:lpstr>
      <vt:lpstr>1_General Content Slides</vt:lpstr>
      <vt:lpstr>Image Slides</vt:lpstr>
      <vt:lpstr>Graph / Chart Slides</vt:lpstr>
      <vt:lpstr>2_General Content Slides</vt:lpstr>
      <vt:lpstr>3_General Content Slides</vt:lpstr>
      <vt:lpstr>think-cell Slide</vt:lpstr>
      <vt:lpstr>PowerPoint Presentation</vt:lpstr>
      <vt:lpstr>مرحبا بكم في المستقبل</vt:lpstr>
      <vt:lpstr>PowerPoint Presentation</vt:lpstr>
      <vt:lpstr>رحلة تطوّر التكنولوجيا ومستقبلها</vt:lpstr>
      <vt:lpstr>رحلة تطوّر التكنولوجيا ومستقبلها</vt:lpstr>
      <vt:lpstr>PowerPoint Presentation</vt:lpstr>
      <vt:lpstr>PowerPoint Presentation</vt:lpstr>
      <vt:lpstr>كيف تَخيَّل الناس في الماضي المستقبل؟</vt:lpstr>
      <vt:lpstr>كيف تخيّل الناس في أربعينيات القرن الماضي مستقبل توصيل الطعام</vt:lpstr>
      <vt:lpstr>التسوق في المستقبل
 1965.</vt:lpstr>
      <vt:lpstr>السيارة ذاتية القيادة في الخمسينيات</vt:lpstr>
      <vt:lpstr>رحلات جوية فوق باريس سنة 2000 بينما يغادر الناس دار الأوبرا  تصوّر ألبير روبيدا عام 1882</vt:lpstr>
      <vt:lpstr>التسوّق من المنزل في الأربعينيات</vt:lpstr>
      <vt:lpstr>تقنية الطرد المركزي لإحياء الشباب وتجديد العمر  - 1935</vt:lpstr>
      <vt:lpstr>لمحة مستقبلية: ليموزين بأبواب فراشة</vt:lpstr>
      <vt:lpstr>منزل تحت الماء
 عمل فني: تشارلز شريدي
 ما بين 1961-1963.</vt:lpstr>
      <vt:lpstr>الواقع الافتراضي - 1989</vt:lpstr>
      <vt:lpstr>برج ترفيهي بارتفاع نصف ميل يضم مطعماً ومرآباً يتسع لـ 500 سيارة – عام 1933  مدينة المستقبل كما تخيّلوها في ثلاثينيات القرن الماضي  </vt:lpstr>
      <vt:lpstr>PowerPoint Presentation</vt:lpstr>
      <vt:lpstr>ما هي خصائص التكنولوجيا الجيدة؟</vt:lpstr>
      <vt:lpstr>PowerPoint Presentation</vt:lpstr>
      <vt:lpstr>رؤية قادة أبوظبي للتكنولوجيا التي ستقود المستقبل</vt:lpstr>
      <vt:lpstr>PowerPoint Presentation</vt:lpstr>
      <vt:lpstr>PowerPoint Presentation</vt:lpstr>
      <vt:lpstr>PowerPoint Presentation</vt:lpstr>
      <vt:lpstr>أي المسارات المهنية أنسب لك؟</vt:lpstr>
      <vt:lpstr>قم باختبار المسارات المهنية القصير للتعرف على مسارك! (الجزء الأول)</vt:lpstr>
      <vt:lpstr>قم باختبار المسارات المهنية القصير للتعرف على مسارك! (الجزء الثاني)</vt:lpstr>
      <vt:lpstr>الباحثون والمهندسون</vt:lpstr>
      <vt:lpstr>القادة والمبدعون وخبراء البيانات</vt:lpstr>
      <vt:lpstr>كيف تصبح باحثاً أو مهندساً؟</vt:lpstr>
      <vt:lpstr>رحلتك لتصبح قائداً أو مبدعاً أو خبيراً في البيانات</vt:lpstr>
      <vt:lpstr>PowerPoint Presentation</vt:lpstr>
      <vt:lpstr>تعرف أكثر و تواصل معنا!</vt:lpstr>
      <vt:lpstr>PowerPoint Presentation</vt:lpstr>
      <vt:lpstr>PowerPoint Presentation</vt:lpstr>
      <vt:lpstr>حقائق عن مجلس أبحاث التكنولوجيا المتقدمة</vt:lpstr>
      <vt:lpstr>عن ورشة مجلس أبحاث التكنولوجيا المتطورة “مَن يبني المستقبل؟ “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vgenia Deusheva</dc:creator>
  <cp:keywords/>
  <cp:lastModifiedBy>Evgenia Deusheva</cp:lastModifiedBy>
  <cp:revision>123</cp:revision>
  <dcterms:created xsi:type="dcterms:W3CDTF">2025-05-05T11:05:54Z</dcterms:created>
  <dcterms:modified xsi:type="dcterms:W3CDTF">2025-10-22T12:34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2-02-02T00:00:00Z</vt:filetime>
  </property>
  <property fmtid="{D5CDD505-2E9C-101B-9397-08002B2CF9AE}" pid="3" name="Creator">
    <vt:lpwstr>Adobe InDesign 17.0 (Macintosh)</vt:lpwstr>
  </property>
  <property fmtid="{D5CDD505-2E9C-101B-9397-08002B2CF9AE}" pid="4" name="LastSaved">
    <vt:filetime>2022-02-02T00:00:00Z</vt:filetime>
  </property>
  <property fmtid="{D5CDD505-2E9C-101B-9397-08002B2CF9AE}" pid="5" name="ContentTypeId">
    <vt:lpwstr>0x010100B2FAB7A6DAC35846ACC527F85FDC6807</vt:lpwstr>
  </property>
  <property fmtid="{D5CDD505-2E9C-101B-9397-08002B2CF9AE}" pid="6" name="MediaServiceImageTags">
    <vt:lpwstr/>
  </property>
  <property fmtid="{D5CDD505-2E9C-101B-9397-08002B2CF9AE}" pid="7" name="docIndexRef">
    <vt:lpwstr>3ef2e770-e598-4635-9747-53e0e2a0f05d</vt:lpwstr>
  </property>
  <property fmtid="{D5CDD505-2E9C-101B-9397-08002B2CF9AE}" pid="8" name="bjClsUserRVM">
    <vt:lpwstr>[]</vt:lpwstr>
  </property>
  <property fmtid="{D5CDD505-2E9C-101B-9397-08002B2CF9AE}" pid="9" name="bjSaver">
    <vt:lpwstr>Q3HsXmKcnbuNtPrYYaMQamvsF8gHWMeX</vt:lpwstr>
  </property>
  <property fmtid="{D5CDD505-2E9C-101B-9397-08002B2CF9AE}" pid="10" name="bjDocumentLabelXML">
    <vt:lpwstr>&lt;?xml version="1.0" encoding="us-ascii"?&gt;&lt;sisl xmlns:xsd="http://www.w3.org/2001/XMLSchema" xmlns:xsi="http://www.w3.org/2001/XMLSchema-instance" sislVersion="0" policy="0fe024ba-3df1-467d-a2dd-6543275a8f9f" origin="userSelected" xmlns="http://www.boldonj</vt:lpwstr>
  </property>
  <property fmtid="{D5CDD505-2E9C-101B-9397-08002B2CF9AE}" pid="11" name="bjDocumentLabelXML-0">
    <vt:lpwstr>ames.com/2008/01/sie/internal/label"&gt;&lt;element uid="id_classification_generalbusiness" value="" /&gt;&lt;/sisl&gt;</vt:lpwstr>
  </property>
  <property fmtid="{D5CDD505-2E9C-101B-9397-08002B2CF9AE}" pid="12" name="bjDocumentSecurityLabel">
    <vt:lpwstr>RESTRICTED </vt:lpwstr>
  </property>
  <property fmtid="{D5CDD505-2E9C-101B-9397-08002B2CF9AE}" pid="13" name="bjSlideMasterFooterText">
    <vt:lpwstr>RESTRICTED </vt:lpwstr>
  </property>
  <property fmtid="{D5CDD505-2E9C-101B-9397-08002B2CF9AE}" pid="14" name="bjLabelHistoryID">
    <vt:lpwstr>{0353AD4B-68A5-4CA8-9965-A9742E209DDA}</vt:lpwstr>
  </property>
</Properties>
</file>